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5.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229" r:id="rId4"/>
    <p:sldMasterId id="2147484528" r:id="rId5"/>
    <p:sldMasterId id="2147484538" r:id="rId6"/>
    <p:sldMasterId id="2147484545" r:id="rId7"/>
    <p:sldMasterId id="2147484559" r:id="rId8"/>
    <p:sldMasterId id="2147484572" r:id="rId9"/>
  </p:sldMasterIdLst>
  <p:notesMasterIdLst>
    <p:notesMasterId r:id="rId58"/>
  </p:notesMasterIdLst>
  <p:handoutMasterIdLst>
    <p:handoutMasterId r:id="rId59"/>
  </p:handoutMasterIdLst>
  <p:sldIdLst>
    <p:sldId id="1596" r:id="rId10"/>
    <p:sldId id="1505" r:id="rId11"/>
    <p:sldId id="1597" r:id="rId12"/>
    <p:sldId id="1598" r:id="rId13"/>
    <p:sldId id="1599" r:id="rId14"/>
    <p:sldId id="1514" r:id="rId15"/>
    <p:sldId id="1595" r:id="rId16"/>
    <p:sldId id="1594" r:id="rId17"/>
    <p:sldId id="1515" r:id="rId18"/>
    <p:sldId id="1570" r:id="rId19"/>
    <p:sldId id="1571" r:id="rId20"/>
    <p:sldId id="1572" r:id="rId21"/>
    <p:sldId id="1575" r:id="rId22"/>
    <p:sldId id="1576" r:id="rId23"/>
    <p:sldId id="1577" r:id="rId24"/>
    <p:sldId id="1578" r:id="rId25"/>
    <p:sldId id="1579" r:id="rId26"/>
    <p:sldId id="1580" r:id="rId27"/>
    <p:sldId id="1542" r:id="rId28"/>
    <p:sldId id="1546" r:id="rId29"/>
    <p:sldId id="1547" r:id="rId30"/>
    <p:sldId id="1548" r:id="rId31"/>
    <p:sldId id="1549" r:id="rId32"/>
    <p:sldId id="1550" r:id="rId33"/>
    <p:sldId id="1551" r:id="rId34"/>
    <p:sldId id="1552" r:id="rId35"/>
    <p:sldId id="1553" r:id="rId36"/>
    <p:sldId id="1554" r:id="rId37"/>
    <p:sldId id="1555" r:id="rId38"/>
    <p:sldId id="1556" r:id="rId39"/>
    <p:sldId id="1557" r:id="rId40"/>
    <p:sldId id="1589" r:id="rId41"/>
    <p:sldId id="1558" r:id="rId42"/>
    <p:sldId id="1559" r:id="rId43"/>
    <p:sldId id="1560" r:id="rId44"/>
    <p:sldId id="1561" r:id="rId45"/>
    <p:sldId id="1590" r:id="rId46"/>
    <p:sldId id="1562" r:id="rId47"/>
    <p:sldId id="1563" r:id="rId48"/>
    <p:sldId id="1591" r:id="rId49"/>
    <p:sldId id="1564" r:id="rId50"/>
    <p:sldId id="1565" r:id="rId51"/>
    <p:sldId id="1592" r:id="rId52"/>
    <p:sldId id="1566" r:id="rId53"/>
    <p:sldId id="1567" r:id="rId54"/>
    <p:sldId id="1568" r:id="rId55"/>
    <p:sldId id="1593" r:id="rId56"/>
    <p:sldId id="1502" r:id="rId57"/>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F0"/>
    <a:srgbClr val="002864"/>
    <a:srgbClr val="002050"/>
    <a:srgbClr val="00BCF2"/>
    <a:srgbClr val="FFCC00"/>
    <a:srgbClr val="005AA1"/>
    <a:srgbClr val="FCB713"/>
    <a:srgbClr val="0078D7"/>
    <a:srgbClr val="0D7595"/>
    <a:srgbClr val="5ACBF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717" autoAdjust="0"/>
    <p:restoredTop sz="77726" autoAdjust="0"/>
  </p:normalViewPr>
  <p:slideViewPr>
    <p:cSldViewPr snapToGrid="0">
      <p:cViewPr varScale="1">
        <p:scale>
          <a:sx n="73" d="100"/>
          <a:sy n="73" d="100"/>
        </p:scale>
        <p:origin x="552" y="48"/>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0"/>
    </p:cViewPr>
  </p:sorterViewPr>
  <p:notesViewPr>
    <p:cSldViewPr snapToGrid="0" showGuides="1">
      <p:cViewPr varScale="1">
        <p:scale>
          <a:sx n="99" d="100"/>
          <a:sy n="99" d="100"/>
        </p:scale>
        <p:origin x="3570"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slide" Target="slides/slide46.xml"/><Relationship Id="rId63"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61" Type="http://schemas.openxmlformats.org/officeDocument/2006/relationships/presProps" Target="presProp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42.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handoutMaster" Target="handoutMasters/handoutMaster1.xml"/></Relationships>
</file>

<file path=ppt/diagrams/_rels/data2.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image" Target="../media/image23.png"/><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s>
</file>

<file path=ppt/diagrams/_rels/drawing2.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image" Target="../media/image23.png"/><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en-US"/>
        </a:p>
      </dgm:t>
    </dgm:pt>
    <dgm:pt modelId="{0FF8BA2A-500B-413D-8B7A-0FD72A53075A}">
      <dgm:prSet phldrT="[Text]" custT="1"/>
      <dgm:spPr/>
      <dgm:t>
        <a:bodyPr/>
        <a:lstStyle/>
        <a:p>
          <a:pPr algn="ctr"/>
          <a:r>
            <a:rPr lang="en-US" sz="2800" dirty="0">
              <a:latin typeface="+mj-lt"/>
            </a:rPr>
            <a:t>Business Understanding</a:t>
          </a:r>
        </a:p>
      </dgm:t>
    </dgm:pt>
    <dgm:pt modelId="{A445CB5E-895F-4150-B184-2C8283752FC5}" type="parTrans" cxnId="{A346880C-19BB-492E-86E8-A5888A7956E2}">
      <dgm:prSet/>
      <dgm:spPr/>
      <dgm:t>
        <a:bodyPr/>
        <a:lstStyle/>
        <a:p>
          <a:endParaRPr lang="en-US">
            <a:latin typeface="+mj-lt"/>
          </a:endParaRPr>
        </a:p>
      </dgm:t>
    </dgm:pt>
    <dgm:pt modelId="{F4903262-3BB8-4A76-A3AA-54C0993BC220}" type="sibTrans" cxnId="{A346880C-19BB-492E-86E8-A5888A7956E2}">
      <dgm:prSet/>
      <dgm:spPr/>
      <dgm:t>
        <a:bodyPr/>
        <a:lstStyle/>
        <a:p>
          <a:endParaRPr lang="en-US">
            <a:latin typeface="+mj-lt"/>
          </a:endParaRPr>
        </a:p>
      </dgm:t>
    </dgm:pt>
    <dgm:pt modelId="{8589F281-C004-49C2-9A17-144391E503DE}">
      <dgm:prSet phldrT="[Text]" custT="1"/>
      <dgm:spPr/>
      <dgm:t>
        <a:bodyPr/>
        <a:lstStyle/>
        <a:p>
          <a:r>
            <a:rPr lang="en-US" sz="2000" dirty="0">
              <a:latin typeface="+mj-lt"/>
            </a:rPr>
            <a:t>Define Objectives</a:t>
          </a:r>
        </a:p>
      </dgm:t>
    </dgm:pt>
    <dgm:pt modelId="{68ACA663-A4B5-4322-A79B-E6FDA765E412}" type="parTrans" cxnId="{B844C6F1-2818-4F3A-97BB-A513A7A6487D}">
      <dgm:prSet/>
      <dgm:spPr/>
      <dgm:t>
        <a:bodyPr/>
        <a:lstStyle/>
        <a:p>
          <a:endParaRPr lang="en-US">
            <a:latin typeface="+mj-lt"/>
          </a:endParaRPr>
        </a:p>
      </dgm:t>
    </dgm:pt>
    <dgm:pt modelId="{C3FF912E-6EAA-40C0-8E91-AAAED8175040}" type="sibTrans" cxnId="{B844C6F1-2818-4F3A-97BB-A513A7A6487D}">
      <dgm:prSet/>
      <dgm:spPr/>
      <dgm:t>
        <a:bodyPr/>
        <a:lstStyle/>
        <a:p>
          <a:endParaRPr lang="en-US">
            <a:latin typeface="+mj-lt"/>
          </a:endParaRPr>
        </a:p>
      </dgm:t>
    </dgm:pt>
    <dgm:pt modelId="{7C9DA717-4609-4F35-9627-FBCE587B2E07}">
      <dgm:prSet phldrT="[Text]" custT="1"/>
      <dgm:spPr/>
      <dgm:t>
        <a:bodyPr/>
        <a:lstStyle/>
        <a:p>
          <a:r>
            <a:rPr lang="en-US" sz="2000" dirty="0">
              <a:latin typeface="+mj-lt"/>
            </a:rPr>
            <a:t>Identify Data Sources</a:t>
          </a:r>
        </a:p>
      </dgm:t>
    </dgm:pt>
    <dgm:pt modelId="{E5D39B11-6038-4BAB-A377-66C89B23A4FE}" type="parTrans" cxnId="{220E0694-B595-46BE-BDB9-2B1763BF7F42}">
      <dgm:prSet/>
      <dgm:spPr/>
      <dgm:t>
        <a:bodyPr/>
        <a:lstStyle/>
        <a:p>
          <a:endParaRPr lang="en-US">
            <a:latin typeface="+mj-lt"/>
          </a:endParaRPr>
        </a:p>
      </dgm:t>
    </dgm:pt>
    <dgm:pt modelId="{C70C4ADA-4F3B-4BCA-9873-A32F1BD4BEED}" type="sibTrans" cxnId="{220E0694-B595-46BE-BDB9-2B1763BF7F42}">
      <dgm:prSet/>
      <dgm:spPr/>
      <dgm:t>
        <a:bodyPr/>
        <a:lstStyle/>
        <a:p>
          <a:endParaRPr lang="en-US">
            <a:latin typeface="+mj-lt"/>
          </a:endParaRPr>
        </a:p>
      </dgm:t>
    </dgm:pt>
    <dgm:pt modelId="{F1A8E0FB-6830-44B9-AD5D-2C6541803F4D}">
      <dgm:prSet phldrT="[Text]" custT="1"/>
      <dgm:spPr/>
      <dgm:t>
        <a:bodyPr/>
        <a:lstStyle/>
        <a:p>
          <a:pPr algn="ctr"/>
          <a:r>
            <a:rPr lang="en-US" sz="2800" dirty="0">
              <a:latin typeface="+mj-lt"/>
            </a:rPr>
            <a:t>Data Acquisition and Understanding</a:t>
          </a:r>
        </a:p>
      </dgm:t>
    </dgm:pt>
    <dgm:pt modelId="{BA9882FF-0D62-440B-AE35-07B5440B7352}" type="parTrans" cxnId="{DA864F5A-43C0-4EAB-ACD8-C653DCDBC285}">
      <dgm:prSet/>
      <dgm:spPr/>
      <dgm:t>
        <a:bodyPr/>
        <a:lstStyle/>
        <a:p>
          <a:endParaRPr lang="en-US">
            <a:latin typeface="+mj-lt"/>
          </a:endParaRPr>
        </a:p>
      </dgm:t>
    </dgm:pt>
    <dgm:pt modelId="{BE3BCC92-A824-45B0-AD74-589AA75A91ED}" type="sibTrans" cxnId="{DA864F5A-43C0-4EAB-ACD8-C653DCDBC285}">
      <dgm:prSet/>
      <dgm:spPr/>
      <dgm:t>
        <a:bodyPr/>
        <a:lstStyle/>
        <a:p>
          <a:endParaRPr lang="en-US">
            <a:latin typeface="+mj-lt"/>
          </a:endParaRPr>
        </a:p>
      </dgm:t>
    </dgm:pt>
    <dgm:pt modelId="{6DCAF490-84DF-45AB-95F8-850141BC8BDF}">
      <dgm:prSet phldrT="[Text]" custT="1"/>
      <dgm:spPr/>
      <dgm:t>
        <a:bodyPr/>
        <a:lstStyle/>
        <a:p>
          <a:r>
            <a:rPr lang="en-US" sz="2000" dirty="0">
              <a:latin typeface="+mj-lt"/>
            </a:rPr>
            <a:t>Ingest Data</a:t>
          </a:r>
        </a:p>
      </dgm:t>
    </dgm:pt>
    <dgm:pt modelId="{313354FE-947E-4C91-850E-55158EB5406E}" type="parTrans" cxnId="{DB01149F-013B-4AAC-83B8-EA5A02812FB1}">
      <dgm:prSet/>
      <dgm:spPr/>
      <dgm:t>
        <a:bodyPr/>
        <a:lstStyle/>
        <a:p>
          <a:endParaRPr lang="en-US">
            <a:latin typeface="+mj-lt"/>
          </a:endParaRPr>
        </a:p>
      </dgm:t>
    </dgm:pt>
    <dgm:pt modelId="{263CB43B-A0A5-48BB-9C20-6635267C3C22}" type="sibTrans" cxnId="{DB01149F-013B-4AAC-83B8-EA5A02812FB1}">
      <dgm:prSet/>
      <dgm:spPr/>
      <dgm:t>
        <a:bodyPr/>
        <a:lstStyle/>
        <a:p>
          <a:endParaRPr lang="en-US">
            <a:latin typeface="+mj-lt"/>
          </a:endParaRPr>
        </a:p>
      </dgm:t>
    </dgm:pt>
    <dgm:pt modelId="{FFA8810D-171E-4ADC-9CA8-AD57E9D504B9}">
      <dgm:prSet phldrT="[Text]" custT="1"/>
      <dgm:spPr/>
      <dgm:t>
        <a:bodyPr/>
        <a:lstStyle/>
        <a:p>
          <a:r>
            <a:rPr lang="en-US" sz="2000" dirty="0">
              <a:latin typeface="+mj-lt"/>
            </a:rPr>
            <a:t>Explore Data</a:t>
          </a:r>
        </a:p>
      </dgm:t>
    </dgm:pt>
    <dgm:pt modelId="{5D65951A-CE03-4794-9B2D-0A910A6F7FFB}" type="parTrans" cxnId="{E0CB53AF-1846-4839-A817-1BC95F8C73F9}">
      <dgm:prSet/>
      <dgm:spPr/>
      <dgm:t>
        <a:bodyPr/>
        <a:lstStyle/>
        <a:p>
          <a:endParaRPr lang="en-US">
            <a:latin typeface="+mj-lt"/>
          </a:endParaRPr>
        </a:p>
      </dgm:t>
    </dgm:pt>
    <dgm:pt modelId="{39C8D19E-6ADE-404A-843B-5F7020E72704}" type="sibTrans" cxnId="{E0CB53AF-1846-4839-A817-1BC95F8C73F9}">
      <dgm:prSet/>
      <dgm:spPr/>
      <dgm:t>
        <a:bodyPr/>
        <a:lstStyle/>
        <a:p>
          <a:endParaRPr lang="en-US">
            <a:latin typeface="+mj-lt"/>
          </a:endParaRPr>
        </a:p>
      </dgm:t>
    </dgm:pt>
    <dgm:pt modelId="{D66E06A0-8A7E-4EC6-8113-DDE9A8B91FA6}">
      <dgm:prSet phldrT="[Text]" custT="1"/>
      <dgm:spPr/>
      <dgm:t>
        <a:bodyPr/>
        <a:lstStyle/>
        <a:p>
          <a:pPr algn="ctr"/>
          <a:r>
            <a:rPr lang="en-US" sz="2800" dirty="0">
              <a:latin typeface="+mj-lt"/>
            </a:rPr>
            <a:t>Modeling</a:t>
          </a:r>
        </a:p>
      </dgm:t>
    </dgm:pt>
    <dgm:pt modelId="{C867E6D7-68AF-43C6-9E80-BCCDD787550D}" type="parTrans" cxnId="{BEEC91A6-BF3F-4E21-859A-6D47ACAB8869}">
      <dgm:prSet/>
      <dgm:spPr/>
      <dgm:t>
        <a:bodyPr/>
        <a:lstStyle/>
        <a:p>
          <a:endParaRPr lang="en-US">
            <a:latin typeface="+mj-lt"/>
          </a:endParaRPr>
        </a:p>
      </dgm:t>
    </dgm:pt>
    <dgm:pt modelId="{4B0A02DB-F299-4AF6-A72B-B326FF7FE0BF}" type="sibTrans" cxnId="{BEEC91A6-BF3F-4E21-859A-6D47ACAB8869}">
      <dgm:prSet/>
      <dgm:spPr/>
      <dgm:t>
        <a:bodyPr/>
        <a:lstStyle/>
        <a:p>
          <a:endParaRPr lang="en-US">
            <a:latin typeface="+mj-lt"/>
          </a:endParaRPr>
        </a:p>
      </dgm:t>
    </dgm:pt>
    <dgm:pt modelId="{E08D914F-4215-41A4-8173-F3CBF316F76B}">
      <dgm:prSet phldrT="[Text]" custT="1"/>
      <dgm:spPr/>
      <dgm:t>
        <a:bodyPr/>
        <a:lstStyle/>
        <a:p>
          <a:r>
            <a:rPr lang="en-US" sz="2000" dirty="0">
              <a:latin typeface="+mj-lt"/>
            </a:rPr>
            <a:t>Feature Selection</a:t>
          </a:r>
        </a:p>
      </dgm:t>
    </dgm:pt>
    <dgm:pt modelId="{6E6AFD42-BD05-4248-B472-1EFABC017324}" type="parTrans" cxnId="{61EC2C2C-336E-4152-BF38-E133255426BA}">
      <dgm:prSet/>
      <dgm:spPr/>
      <dgm:t>
        <a:bodyPr/>
        <a:lstStyle/>
        <a:p>
          <a:endParaRPr lang="en-US">
            <a:latin typeface="+mj-lt"/>
          </a:endParaRPr>
        </a:p>
      </dgm:t>
    </dgm:pt>
    <dgm:pt modelId="{1759AAC5-ADE9-4C55-8CBC-F1BA87C7A449}" type="sibTrans" cxnId="{61EC2C2C-336E-4152-BF38-E133255426BA}">
      <dgm:prSet/>
      <dgm:spPr/>
      <dgm:t>
        <a:bodyPr/>
        <a:lstStyle/>
        <a:p>
          <a:endParaRPr lang="en-US">
            <a:latin typeface="+mj-lt"/>
          </a:endParaRPr>
        </a:p>
      </dgm:t>
    </dgm:pt>
    <dgm:pt modelId="{EFB0480E-A451-4750-9076-B8DA17ACD683}">
      <dgm:prSet phldrT="[Text]" custT="1"/>
      <dgm:spPr/>
      <dgm:t>
        <a:bodyPr/>
        <a:lstStyle/>
        <a:p>
          <a:r>
            <a:rPr lang="en-US" sz="2000" dirty="0">
              <a:latin typeface="+mj-lt"/>
            </a:rPr>
            <a:t>Create and Train Model</a:t>
          </a:r>
        </a:p>
      </dgm:t>
    </dgm:pt>
    <dgm:pt modelId="{02255FE4-1BB8-44C8-8FC3-2DB4276D8435}" type="parTrans" cxnId="{F0686254-8BC6-438F-8EFC-387D3C1B4582}">
      <dgm:prSet/>
      <dgm:spPr/>
      <dgm:t>
        <a:bodyPr/>
        <a:lstStyle/>
        <a:p>
          <a:endParaRPr lang="en-US">
            <a:latin typeface="+mj-lt"/>
          </a:endParaRPr>
        </a:p>
      </dgm:t>
    </dgm:pt>
    <dgm:pt modelId="{7ECF0E78-DA31-4B08-B8BA-D36DB4135973}" type="sibTrans" cxnId="{F0686254-8BC6-438F-8EFC-387D3C1B4582}">
      <dgm:prSet/>
      <dgm:spPr/>
      <dgm:t>
        <a:bodyPr/>
        <a:lstStyle/>
        <a:p>
          <a:endParaRPr lang="en-US">
            <a:latin typeface="+mj-lt"/>
          </a:endParaRPr>
        </a:p>
      </dgm:t>
    </dgm:pt>
    <dgm:pt modelId="{31989D70-38F8-40B4-A5B4-5B64244B04DB}">
      <dgm:prSet phldrT="[Text]" custT="1"/>
      <dgm:spPr/>
      <dgm:t>
        <a:bodyPr/>
        <a:lstStyle/>
        <a:p>
          <a:pPr algn="ctr"/>
          <a:r>
            <a:rPr lang="en-US" sz="2800" dirty="0">
              <a:latin typeface="+mj-lt"/>
            </a:rPr>
            <a:t>Deployment</a:t>
          </a:r>
        </a:p>
      </dgm:t>
    </dgm:pt>
    <dgm:pt modelId="{E572721F-5C44-451C-B622-59B69949FB6F}" type="parTrans" cxnId="{991DC740-DAA8-4D0F-9BAB-A0D216E7CC9C}">
      <dgm:prSet/>
      <dgm:spPr/>
      <dgm:t>
        <a:bodyPr/>
        <a:lstStyle/>
        <a:p>
          <a:endParaRPr lang="en-US">
            <a:latin typeface="+mj-lt"/>
          </a:endParaRPr>
        </a:p>
      </dgm:t>
    </dgm:pt>
    <dgm:pt modelId="{FF3730C5-5E1C-4ACF-986C-1F8BDC2A87DC}" type="sibTrans" cxnId="{991DC740-DAA8-4D0F-9BAB-A0D216E7CC9C}">
      <dgm:prSet/>
      <dgm:spPr/>
      <dgm:t>
        <a:bodyPr/>
        <a:lstStyle/>
        <a:p>
          <a:endParaRPr lang="en-US">
            <a:latin typeface="+mj-lt"/>
          </a:endParaRPr>
        </a:p>
      </dgm:t>
    </dgm:pt>
    <dgm:pt modelId="{75DF6D0E-EF2D-4899-8D56-11F561E3DB25}">
      <dgm:prSet phldrT="[Text]" custT="1"/>
      <dgm:spPr/>
      <dgm:t>
        <a:bodyPr/>
        <a:lstStyle/>
        <a:p>
          <a:pPr algn="ctr"/>
          <a:r>
            <a:rPr lang="en-US" sz="2800" dirty="0">
              <a:latin typeface="+mj-lt"/>
            </a:rPr>
            <a:t>Customer Acceptance</a:t>
          </a:r>
        </a:p>
      </dgm:t>
    </dgm:pt>
    <dgm:pt modelId="{510C85D3-5932-4392-B61F-F44832C002FA}" type="parTrans" cxnId="{6D864F09-96B6-4444-95BB-D36241D055AD}">
      <dgm:prSet/>
      <dgm:spPr/>
      <dgm:t>
        <a:bodyPr/>
        <a:lstStyle/>
        <a:p>
          <a:endParaRPr lang="en-US">
            <a:latin typeface="+mj-lt"/>
          </a:endParaRPr>
        </a:p>
      </dgm:t>
    </dgm:pt>
    <dgm:pt modelId="{EEE1824F-AA0C-4316-B13D-ED5B6C4A0BFF}" type="sibTrans" cxnId="{6D864F09-96B6-4444-95BB-D36241D055AD}">
      <dgm:prSet/>
      <dgm:spPr/>
      <dgm:t>
        <a:bodyPr/>
        <a:lstStyle/>
        <a:p>
          <a:endParaRPr lang="en-US">
            <a:latin typeface="+mj-lt"/>
          </a:endParaRPr>
        </a:p>
      </dgm:t>
    </dgm:pt>
    <dgm:pt modelId="{07E81225-DE19-4D3E-99CD-FC123A33837F}">
      <dgm:prSet phldrT="[Text]" custT="1"/>
      <dgm:spPr/>
      <dgm:t>
        <a:bodyPr/>
        <a:lstStyle/>
        <a:p>
          <a:r>
            <a:rPr lang="en-US" sz="2000" dirty="0">
              <a:latin typeface="+mj-lt"/>
            </a:rPr>
            <a:t>Operationalize</a:t>
          </a:r>
        </a:p>
      </dgm:t>
    </dgm:pt>
    <dgm:pt modelId="{642D5DAC-991D-456E-978D-DDF8870668E2}" type="parTrans" cxnId="{F9E74B76-F3C8-474B-BE2E-672A4119380A}">
      <dgm:prSet/>
      <dgm:spPr/>
      <dgm:t>
        <a:bodyPr/>
        <a:lstStyle/>
        <a:p>
          <a:endParaRPr lang="en-US">
            <a:latin typeface="+mj-lt"/>
          </a:endParaRPr>
        </a:p>
      </dgm:t>
    </dgm:pt>
    <dgm:pt modelId="{71EEF2D0-2FC1-4663-8EEF-F8400FED6EFD}" type="sibTrans" cxnId="{F9E74B76-F3C8-474B-BE2E-672A4119380A}">
      <dgm:prSet/>
      <dgm:spPr/>
      <dgm:t>
        <a:bodyPr/>
        <a:lstStyle/>
        <a:p>
          <a:endParaRPr lang="en-US">
            <a:latin typeface="+mj-lt"/>
          </a:endParaRPr>
        </a:p>
      </dgm:t>
    </dgm:pt>
    <dgm:pt modelId="{0EBDD81E-61F5-4638-8D23-E64C5784A7CF}">
      <dgm:prSet phldrT="[Text]" custT="1"/>
      <dgm:spPr/>
      <dgm:t>
        <a:bodyPr/>
        <a:lstStyle/>
        <a:p>
          <a:r>
            <a:rPr lang="en-US" sz="2000" dirty="0">
              <a:latin typeface="+mj-lt"/>
            </a:rPr>
            <a:t>Testing and Validation</a:t>
          </a:r>
        </a:p>
      </dgm:t>
    </dgm:pt>
    <dgm:pt modelId="{5BB68B6B-2470-4B4F-B825-03319C46AB79}" type="parTrans" cxnId="{0652195D-79AA-41CB-A507-64DF25821FDC}">
      <dgm:prSet/>
      <dgm:spPr/>
      <dgm:t>
        <a:bodyPr/>
        <a:lstStyle/>
        <a:p>
          <a:endParaRPr lang="en-US">
            <a:latin typeface="+mj-lt"/>
          </a:endParaRPr>
        </a:p>
      </dgm:t>
    </dgm:pt>
    <dgm:pt modelId="{91158606-88ED-478A-99A3-FF66895B49FF}" type="sibTrans" cxnId="{0652195D-79AA-41CB-A507-64DF25821FDC}">
      <dgm:prSet/>
      <dgm:spPr/>
      <dgm:t>
        <a:bodyPr/>
        <a:lstStyle/>
        <a:p>
          <a:endParaRPr lang="en-US">
            <a:latin typeface="+mj-lt"/>
          </a:endParaRPr>
        </a:p>
      </dgm:t>
    </dgm:pt>
    <dgm:pt modelId="{8A560357-68DD-41D8-841B-C94F1FF7F8C1}">
      <dgm:prSet phldrT="[Text]" custT="1"/>
      <dgm:spPr/>
      <dgm:t>
        <a:bodyPr/>
        <a:lstStyle/>
        <a:p>
          <a:r>
            <a:rPr lang="en-US" sz="2000" dirty="0">
              <a:latin typeface="+mj-lt"/>
            </a:rPr>
            <a:t>Update Data</a:t>
          </a:r>
        </a:p>
      </dgm:t>
    </dgm:pt>
    <dgm:pt modelId="{3BC3B257-E716-47FF-9C4E-A1CCC502A26F}" type="parTrans" cxnId="{6D9D5740-A78E-432A-A19B-79A7629DFBD0}">
      <dgm:prSet/>
      <dgm:spPr/>
      <dgm:t>
        <a:bodyPr/>
        <a:lstStyle/>
        <a:p>
          <a:endParaRPr lang="en-US">
            <a:latin typeface="+mj-lt"/>
          </a:endParaRPr>
        </a:p>
      </dgm:t>
    </dgm:pt>
    <dgm:pt modelId="{0F75D6C4-A5C5-4C0B-A3E7-E1F9127F0B24}" type="sibTrans" cxnId="{6D9D5740-A78E-432A-A19B-79A7629DFBD0}">
      <dgm:prSet/>
      <dgm:spPr/>
      <dgm:t>
        <a:bodyPr/>
        <a:lstStyle/>
        <a:p>
          <a:endParaRPr lang="en-US">
            <a:latin typeface="+mj-lt"/>
          </a:endParaRPr>
        </a:p>
      </dgm:t>
    </dgm:pt>
    <dgm:pt modelId="{051E23BA-27D6-402B-8FD0-643279078F48}">
      <dgm:prSet phldrT="[Text]" custT="1"/>
      <dgm:spPr/>
      <dgm:t>
        <a:bodyPr/>
        <a:lstStyle/>
        <a:p>
          <a:r>
            <a:rPr lang="en-US" sz="2000" dirty="0">
              <a:latin typeface="+mj-lt"/>
            </a:rPr>
            <a:t>Handoff</a:t>
          </a:r>
        </a:p>
      </dgm:t>
    </dgm:pt>
    <dgm:pt modelId="{DA361144-F3E9-4156-9CC2-FE98E458196C}" type="parTrans" cxnId="{9D250ACB-3782-4169-9513-D5939A72E14C}">
      <dgm:prSet/>
      <dgm:spPr/>
      <dgm:t>
        <a:bodyPr/>
        <a:lstStyle/>
        <a:p>
          <a:endParaRPr lang="en-US">
            <a:latin typeface="+mj-lt"/>
          </a:endParaRPr>
        </a:p>
      </dgm:t>
    </dgm:pt>
    <dgm:pt modelId="{AE55AD9A-A016-48D5-8B34-AF4339F64545}" type="sibTrans" cxnId="{9D250ACB-3782-4169-9513-D5939A72E14C}">
      <dgm:prSet/>
      <dgm:spPr/>
      <dgm:t>
        <a:bodyPr/>
        <a:lstStyle/>
        <a:p>
          <a:endParaRPr lang="en-US">
            <a:latin typeface="+mj-lt"/>
          </a:endParaRPr>
        </a:p>
      </dgm:t>
    </dgm:pt>
    <dgm:pt modelId="{22DA92B9-9C40-4A25-8285-966799791BE7}">
      <dgm:prSet phldrT="[Text]" custT="1"/>
      <dgm:spPr/>
      <dgm:t>
        <a:bodyPr/>
        <a:lstStyle/>
        <a:p>
          <a:r>
            <a:rPr lang="en-US" sz="2000" dirty="0">
              <a:latin typeface="+mj-lt"/>
            </a:rPr>
            <a:t>Re-train and re-score</a:t>
          </a:r>
        </a:p>
      </dgm:t>
    </dgm:pt>
    <dgm:pt modelId="{31A0D76F-F3CA-4A56-BA36-A4E6E0932F46}" type="parTrans" cxnId="{0E99CA05-F61F-4393-A01F-8CCEDBA18F50}">
      <dgm:prSet/>
      <dgm:spPr/>
      <dgm:t>
        <a:bodyPr/>
        <a:lstStyle/>
        <a:p>
          <a:endParaRPr lang="en-US">
            <a:latin typeface="+mj-lt"/>
          </a:endParaRPr>
        </a:p>
      </dgm:t>
    </dgm:pt>
    <dgm:pt modelId="{C2D43770-B53D-4E3F-BFD7-DA47BF161F8F}" type="sibTrans" cxnId="{0E99CA05-F61F-4393-A01F-8CCEDBA18F50}">
      <dgm:prSet/>
      <dgm:spPr/>
      <dgm:t>
        <a:bodyPr/>
        <a:lstStyle/>
        <a:p>
          <a:endParaRPr lang="en-US">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DDE004FE-29B7-4A52-86FC-2EB3E9848396}" type="presOf" srcId="{31989D70-38F8-40B4-A5B4-5B64244B04DB}" destId="{C971C0CD-D6D6-4BD2-B517-483DD2B85EA0}" srcOrd="0" destOrd="0" presId="urn:microsoft.com/office/officeart/2005/8/layout/vList5"/>
    <dgm:cxn modelId="{1FC3DAAC-2674-4AC0-A681-6AC6E1E041FE}" type="presOf" srcId="{07E81225-DE19-4D3E-99CD-FC123A33837F}" destId="{DE1FE771-1582-4775-9E8F-B758D933162D}" srcOrd="0" destOrd="0" presId="urn:microsoft.com/office/officeart/2005/8/layout/vList5"/>
    <dgm:cxn modelId="{60DB5F81-807B-4DAD-8ED9-6DCE2A60111F}" type="presOf" srcId="{8589F281-C004-49C2-9A17-144391E503DE}" destId="{43C6ABD0-F64A-458E-8A26-0D837897DC64}"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8122CC33-B4F2-4AA4-9832-D53CD089768C}" type="presOf" srcId="{75DF6D0E-EF2D-4899-8D56-11F561E3DB25}" destId="{C5DBDEB5-64EF-486D-ADE8-9AD2774135B2}" srcOrd="0" destOrd="0" presId="urn:microsoft.com/office/officeart/2005/8/layout/vList5"/>
    <dgm:cxn modelId="{657DF6AF-D666-4D2C-A115-75BA748559C6}" type="presOf" srcId="{8A560357-68DD-41D8-841B-C94F1FF7F8C1}" destId="{B35FD520-5FF0-41BD-887C-8B0911FFCB12}" srcOrd="0" destOrd="2" presId="urn:microsoft.com/office/officeart/2005/8/layout/vList5"/>
    <dgm:cxn modelId="{2178D97F-3CAA-4CEB-BCA2-825BD11AB20F}" type="presOf" srcId="{FFA8810D-171E-4ADC-9CA8-AD57E9D504B9}" destId="{B35FD520-5FF0-41BD-887C-8B0911FFCB12}" srcOrd="0" destOrd="1"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6D9D5740-A78E-432A-A19B-79A7629DFBD0}" srcId="{F1A8E0FB-6830-44B9-AD5D-2C6541803F4D}" destId="{8A560357-68DD-41D8-841B-C94F1FF7F8C1}" srcOrd="2" destOrd="0" parTransId="{3BC3B257-E716-47FF-9C4E-A1CCC502A26F}" sibTransId="{0F75D6C4-A5C5-4C0B-A3E7-E1F9127F0B24}"/>
    <dgm:cxn modelId="{DB01149F-013B-4AAC-83B8-EA5A02812FB1}" srcId="{F1A8E0FB-6830-44B9-AD5D-2C6541803F4D}" destId="{6DCAF490-84DF-45AB-95F8-850141BC8BDF}" srcOrd="0" destOrd="0" parTransId="{313354FE-947E-4C91-850E-55158EB5406E}" sibTransId="{263CB43B-A0A5-48BB-9C20-6635267C3C22}"/>
    <dgm:cxn modelId="{E0CB53AF-1846-4839-A817-1BC95F8C73F9}" srcId="{F1A8E0FB-6830-44B9-AD5D-2C6541803F4D}" destId="{FFA8810D-171E-4ADC-9CA8-AD57E9D504B9}" srcOrd="1" destOrd="0" parTransId="{5D65951A-CE03-4794-9B2D-0A910A6F7FFB}" sibTransId="{39C8D19E-6ADE-404A-843B-5F7020E72704}"/>
    <dgm:cxn modelId="{0E99CA05-F61F-4393-A01F-8CCEDBA18F50}" srcId="{75DF6D0E-EF2D-4899-8D56-11F561E3DB25}" destId="{22DA92B9-9C40-4A25-8285-966799791BE7}" srcOrd="2" destOrd="0" parTransId="{31A0D76F-F3CA-4A56-BA36-A4E6E0932F46}" sibTransId="{C2D43770-B53D-4E3F-BFD7-DA47BF161F8F}"/>
    <dgm:cxn modelId="{F6DB5C63-69FA-4FC9-BB9C-7D6AEF8B14EB}" type="presOf" srcId="{EFB0480E-A451-4750-9076-B8DA17ACD683}" destId="{EF322D6C-1CB6-431F-8B42-A64D898D2824}" srcOrd="0" destOrd="1" presId="urn:microsoft.com/office/officeart/2005/8/layout/vList5"/>
    <dgm:cxn modelId="{BEEC91A6-BF3F-4E21-859A-6D47ACAB8869}" srcId="{A6842990-62A4-4545-B120-1F8AF25A0D6E}" destId="{D66E06A0-8A7E-4EC6-8113-DDE9A8B91FA6}" srcOrd="2" destOrd="0" parTransId="{C867E6D7-68AF-43C6-9E80-BCCDD787550D}" sibTransId="{4B0A02DB-F299-4AF6-A72B-B326FF7FE0BF}"/>
    <dgm:cxn modelId="{9197056C-C44F-4A04-AEB6-8E23C28CFBCA}" type="presOf" srcId="{D66E06A0-8A7E-4EC6-8113-DDE9A8B91FA6}" destId="{D8CBC06D-2193-488F-8EDE-5FAA991E0B6B}"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61EC2C2C-336E-4152-BF38-E133255426BA}" srcId="{D66E06A0-8A7E-4EC6-8113-DDE9A8B91FA6}" destId="{E08D914F-4215-41A4-8173-F3CBF316F76B}" srcOrd="0" destOrd="0" parTransId="{6E6AFD42-BD05-4248-B472-1EFABC017324}" sibTransId="{1759AAC5-ADE9-4C55-8CBC-F1BA87C7A449}"/>
    <dgm:cxn modelId="{B844C6F1-2818-4F3A-97BB-A513A7A6487D}" srcId="{0FF8BA2A-500B-413D-8B7A-0FD72A53075A}" destId="{8589F281-C004-49C2-9A17-144391E503DE}" srcOrd="0" destOrd="0" parTransId="{68ACA663-A4B5-4322-A79B-E6FDA765E412}" sibTransId="{C3FF912E-6EAA-40C0-8E91-AAAED8175040}"/>
    <dgm:cxn modelId="{A7498686-3363-4727-9125-3753C7FB4287}" type="presOf" srcId="{A6842990-62A4-4545-B120-1F8AF25A0D6E}" destId="{C5ED45AB-5708-4618-8F2A-585D84BC9EAD}" srcOrd="0" destOrd="0" presId="urn:microsoft.com/office/officeart/2005/8/layout/vList5"/>
    <dgm:cxn modelId="{F4DF8B2E-967B-4C23-9FF5-BB008183100C}" type="presOf" srcId="{F1A8E0FB-6830-44B9-AD5D-2C6541803F4D}" destId="{3E606814-09D9-4B4C-8F40-66F312978EEB}" srcOrd="0" destOrd="0" presId="urn:microsoft.com/office/officeart/2005/8/layout/vList5"/>
    <dgm:cxn modelId="{ACACF1CD-A9C0-4633-8495-72FF45057E3A}" type="presOf" srcId="{7C9DA717-4609-4F35-9627-FBCE587B2E07}" destId="{43C6ABD0-F64A-458E-8A26-0D837897DC64}" srcOrd="0" destOrd="1" presId="urn:microsoft.com/office/officeart/2005/8/layout/vList5"/>
    <dgm:cxn modelId="{991DC740-DAA8-4D0F-9BAB-A0D216E7CC9C}" srcId="{A6842990-62A4-4545-B120-1F8AF25A0D6E}" destId="{31989D70-38F8-40B4-A5B4-5B64244B04DB}" srcOrd="3" destOrd="0" parTransId="{E572721F-5C44-451C-B622-59B69949FB6F}" sibTransId="{FF3730C5-5E1C-4ACF-986C-1F8BDC2A87DC}"/>
    <dgm:cxn modelId="{A346880C-19BB-492E-86E8-A5888A7956E2}" srcId="{A6842990-62A4-4545-B120-1F8AF25A0D6E}" destId="{0FF8BA2A-500B-413D-8B7A-0FD72A53075A}" srcOrd="0" destOrd="0" parTransId="{A445CB5E-895F-4150-B184-2C8283752FC5}" sibTransId="{F4903262-3BB8-4A76-A3AA-54C0993BC220}"/>
    <dgm:cxn modelId="{FC9795E3-DBDF-499A-B2B6-4B8E6CA578BE}" type="presOf" srcId="{E08D914F-4215-41A4-8173-F3CBF316F76B}" destId="{EF322D6C-1CB6-431F-8B42-A64D898D2824}" srcOrd="0" destOrd="0" presId="urn:microsoft.com/office/officeart/2005/8/layout/vList5"/>
    <dgm:cxn modelId="{6D864F09-96B6-4444-95BB-D36241D055AD}" srcId="{A6842990-62A4-4545-B120-1F8AF25A0D6E}" destId="{75DF6D0E-EF2D-4899-8D56-11F561E3DB25}" srcOrd="4" destOrd="0" parTransId="{510C85D3-5932-4392-B61F-F44832C002FA}" sibTransId="{EEE1824F-AA0C-4316-B13D-ED5B6C4A0BFF}"/>
    <dgm:cxn modelId="{D9C32539-B0FF-4269-910E-8E2F3FB2481A}" type="presOf" srcId="{6DCAF490-84DF-45AB-95F8-850141BC8BDF}" destId="{B35FD520-5FF0-41BD-887C-8B0911FFCB12}"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0652195D-79AA-41CB-A507-64DF25821FDC}" srcId="{75DF6D0E-EF2D-4899-8D56-11F561E3DB25}" destId="{0EBDD81E-61F5-4638-8D23-E64C5784A7CF}" srcOrd="0" destOrd="0" parTransId="{5BB68B6B-2470-4B4F-B825-03319C46AB79}" sibTransId="{91158606-88ED-478A-99A3-FF66895B49FF}"/>
    <dgm:cxn modelId="{DA864F5A-43C0-4EAB-ACD8-C653DCDBC285}" srcId="{A6842990-62A4-4545-B120-1F8AF25A0D6E}" destId="{F1A8E0FB-6830-44B9-AD5D-2C6541803F4D}" srcOrd="1" destOrd="0" parTransId="{BA9882FF-0D62-440B-AE35-07B5440B7352}" sibTransId="{BE3BCC92-A824-45B0-AD74-589AA75A91ED}"/>
    <dgm:cxn modelId="{78B26055-4003-4B61-B1A2-86AC6919F907}" type="presOf" srcId="{22DA92B9-9C40-4A25-8285-966799791BE7}" destId="{E36319A3-4DDD-4596-A48B-3AFC2FB82E08}" srcOrd="0" destOrd="2" presId="urn:microsoft.com/office/officeart/2005/8/layout/vList5"/>
    <dgm:cxn modelId="{A345E6FB-E582-491A-BAAE-F2A1141E8D26}" type="presOf" srcId="{0FF8BA2A-500B-413D-8B7A-0FD72A53075A}" destId="{FCE31E78-3DAC-4692-A464-D0C835B3F5C0}"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DA69A69-DF68-414D-8EA4-5B891DFFA5AF}" type="doc">
      <dgm:prSet loTypeId="urn:microsoft.com/office/officeart/2005/8/layout/vList4" loCatId="list" qsTypeId="urn:microsoft.com/office/officeart/2005/8/quickstyle/simple1" qsCatId="simple" csTypeId="urn:microsoft.com/office/officeart/2005/8/colors/accent0_3" csCatId="mainScheme" phldr="1"/>
      <dgm:spPr/>
      <dgm:t>
        <a:bodyPr/>
        <a:lstStyle/>
        <a:p>
          <a:endParaRPr lang="en-US"/>
        </a:p>
      </dgm:t>
    </dgm:pt>
    <dgm:pt modelId="{01BDD74D-C028-4813-9A40-60C9E2F57DB0}">
      <dgm:prSet phldrT="[Text]"/>
      <dgm:spPr/>
      <dgm:t>
        <a:bodyPr/>
        <a:lstStyle/>
        <a:p>
          <a:r>
            <a:rPr lang="en-US" dirty="0">
              <a:latin typeface="+mj-lt"/>
            </a:rPr>
            <a:t>Cortana, Cognitive Services, Bot Framework</a:t>
          </a:r>
        </a:p>
      </dgm:t>
    </dgm:pt>
    <dgm:pt modelId="{B1B801B5-C3BE-4F62-9805-943F9ECCC34B}" type="parTrans" cxnId="{E9CD9087-4D76-4DCC-976E-CEF58E4BDA7B}">
      <dgm:prSet/>
      <dgm:spPr/>
      <dgm:t>
        <a:bodyPr/>
        <a:lstStyle/>
        <a:p>
          <a:endParaRPr lang="en-US">
            <a:latin typeface="+mj-lt"/>
          </a:endParaRPr>
        </a:p>
      </dgm:t>
    </dgm:pt>
    <dgm:pt modelId="{F35B3DDF-F275-4912-BB0B-8814AF11EBD0}" type="sibTrans" cxnId="{E9CD9087-4D76-4DCC-976E-CEF58E4BDA7B}">
      <dgm:prSet/>
      <dgm:spPr/>
      <dgm:t>
        <a:bodyPr/>
        <a:lstStyle/>
        <a:p>
          <a:endParaRPr lang="en-US">
            <a:latin typeface="+mj-lt"/>
          </a:endParaRPr>
        </a:p>
      </dgm:t>
    </dgm:pt>
    <dgm:pt modelId="{B1A5E10D-28EF-4A53-BB42-ADFCEDD33914}">
      <dgm:prSet phldrT="[Text]"/>
      <dgm:spPr/>
      <dgm:t>
        <a:bodyPr/>
        <a:lstStyle/>
        <a:p>
          <a:r>
            <a:rPr lang="en-US" dirty="0">
              <a:latin typeface="+mj-lt"/>
            </a:rPr>
            <a:t>Power BI</a:t>
          </a:r>
        </a:p>
      </dgm:t>
    </dgm:pt>
    <dgm:pt modelId="{4330C9E9-E525-4CE3-8D83-79DC3A7B548F}" type="parTrans" cxnId="{6C569132-71B0-4D77-BA25-C5457021688A}">
      <dgm:prSet/>
      <dgm:spPr/>
      <dgm:t>
        <a:bodyPr/>
        <a:lstStyle/>
        <a:p>
          <a:endParaRPr lang="en-US">
            <a:latin typeface="+mj-lt"/>
          </a:endParaRPr>
        </a:p>
      </dgm:t>
    </dgm:pt>
    <dgm:pt modelId="{EE6CE372-F5B4-4C65-BB47-2D0CBB1D465F}" type="sibTrans" cxnId="{6C569132-71B0-4D77-BA25-C5457021688A}">
      <dgm:prSet/>
      <dgm:spPr/>
      <dgm:t>
        <a:bodyPr/>
        <a:lstStyle/>
        <a:p>
          <a:endParaRPr lang="en-US">
            <a:latin typeface="+mj-lt"/>
          </a:endParaRPr>
        </a:p>
      </dgm:t>
    </dgm:pt>
    <dgm:pt modelId="{EA167186-6F53-4DC7-A045-E6417D37BF33}">
      <dgm:prSet phldrT="[Text]"/>
      <dgm:spPr/>
      <dgm:t>
        <a:bodyPr/>
        <a:lstStyle/>
        <a:p>
          <a:r>
            <a:rPr lang="en-US" dirty="0">
              <a:latin typeface="+mj-lt"/>
            </a:rPr>
            <a:t>HDInsight</a:t>
          </a:r>
        </a:p>
      </dgm:t>
    </dgm:pt>
    <dgm:pt modelId="{AA45AC8D-893E-49DB-8316-613BBB5646B5}" type="parTrans" cxnId="{8A6687E5-21B2-435D-B10C-332268480112}">
      <dgm:prSet/>
      <dgm:spPr/>
      <dgm:t>
        <a:bodyPr/>
        <a:lstStyle/>
        <a:p>
          <a:endParaRPr lang="en-US">
            <a:latin typeface="+mj-lt"/>
          </a:endParaRPr>
        </a:p>
      </dgm:t>
    </dgm:pt>
    <dgm:pt modelId="{9FE0364B-209B-4506-9049-4401EA19AFBC}" type="sibTrans" cxnId="{8A6687E5-21B2-435D-B10C-332268480112}">
      <dgm:prSet/>
      <dgm:spPr/>
      <dgm:t>
        <a:bodyPr/>
        <a:lstStyle/>
        <a:p>
          <a:endParaRPr lang="en-US">
            <a:latin typeface="+mj-lt"/>
          </a:endParaRPr>
        </a:p>
      </dgm:t>
    </dgm:pt>
    <dgm:pt modelId="{AB393BA1-5855-49E3-9B86-59C4B29CEA69}">
      <dgm:prSet phldrT="[Text]"/>
      <dgm:spPr/>
      <dgm:t>
        <a:bodyPr/>
        <a:lstStyle/>
        <a:p>
          <a:r>
            <a:rPr lang="en-US" dirty="0">
              <a:latin typeface="+mj-lt"/>
            </a:rPr>
            <a:t>Stream Analytics</a:t>
          </a:r>
        </a:p>
      </dgm:t>
    </dgm:pt>
    <dgm:pt modelId="{FB136A78-F087-494B-A4DD-4AF3EF01BF04}" type="parTrans" cxnId="{F3ED81DC-2C51-47EE-A31F-B6E976CD6458}">
      <dgm:prSet/>
      <dgm:spPr/>
      <dgm:t>
        <a:bodyPr/>
        <a:lstStyle/>
        <a:p>
          <a:endParaRPr lang="en-US">
            <a:latin typeface="+mj-lt"/>
          </a:endParaRPr>
        </a:p>
      </dgm:t>
    </dgm:pt>
    <dgm:pt modelId="{CFE1A1C0-1939-44E8-B395-EE878B1AED03}" type="sibTrans" cxnId="{F3ED81DC-2C51-47EE-A31F-B6E976CD6458}">
      <dgm:prSet/>
      <dgm:spPr/>
      <dgm:t>
        <a:bodyPr/>
        <a:lstStyle/>
        <a:p>
          <a:endParaRPr lang="en-US">
            <a:latin typeface="+mj-lt"/>
          </a:endParaRPr>
        </a:p>
      </dgm:t>
    </dgm:pt>
    <dgm:pt modelId="{CE92E143-7827-4B23-958C-F5E2952926EC}">
      <dgm:prSet phldrT="[Text]"/>
      <dgm:spPr/>
      <dgm:t>
        <a:bodyPr/>
        <a:lstStyle/>
        <a:p>
          <a:r>
            <a:rPr lang="en-US" dirty="0">
              <a:latin typeface="+mj-lt"/>
            </a:rPr>
            <a:t>Azure Machine Learning (MRS)</a:t>
          </a:r>
        </a:p>
      </dgm:t>
    </dgm:pt>
    <dgm:pt modelId="{C4D32C04-360F-4F8D-8B67-B5640F4A6D8F}" type="parTrans" cxnId="{047C46A9-F2CD-4146-951F-467E5F8CB8ED}">
      <dgm:prSet/>
      <dgm:spPr/>
      <dgm:t>
        <a:bodyPr/>
        <a:lstStyle/>
        <a:p>
          <a:endParaRPr lang="en-US">
            <a:latin typeface="+mj-lt"/>
          </a:endParaRPr>
        </a:p>
      </dgm:t>
    </dgm:pt>
    <dgm:pt modelId="{9E9FB500-C656-4896-8D25-03917B48704C}" type="sibTrans" cxnId="{047C46A9-F2CD-4146-951F-467E5F8CB8ED}">
      <dgm:prSet/>
      <dgm:spPr/>
      <dgm:t>
        <a:bodyPr/>
        <a:lstStyle/>
        <a:p>
          <a:endParaRPr lang="en-US">
            <a:latin typeface="+mj-lt"/>
          </a:endParaRPr>
        </a:p>
      </dgm:t>
    </dgm:pt>
    <dgm:pt modelId="{011E79D2-CE12-4ACC-B4D0-D9E003466911}">
      <dgm:prSet phldrT="[Text]"/>
      <dgm:spPr/>
      <dgm:t>
        <a:bodyPr/>
        <a:lstStyle/>
        <a:p>
          <a:r>
            <a:rPr lang="en-US" dirty="0">
              <a:latin typeface="+mj-lt"/>
            </a:rPr>
            <a:t>SQL Data Warehouse (SQL DB, Document DB)</a:t>
          </a:r>
        </a:p>
      </dgm:t>
    </dgm:pt>
    <dgm:pt modelId="{29814D48-68C9-4F1B-A742-4632C8E2EA9C}" type="parTrans" cxnId="{F7E6D72A-5B0B-4536-9DE8-41E4810247B9}">
      <dgm:prSet/>
      <dgm:spPr/>
      <dgm:t>
        <a:bodyPr/>
        <a:lstStyle/>
        <a:p>
          <a:endParaRPr lang="en-US">
            <a:latin typeface="+mj-lt"/>
          </a:endParaRPr>
        </a:p>
      </dgm:t>
    </dgm:pt>
    <dgm:pt modelId="{46FBF3BF-5D0C-4A35-BF9D-1D6E2F785FEA}" type="sibTrans" cxnId="{F7E6D72A-5B0B-4536-9DE8-41E4810247B9}">
      <dgm:prSet/>
      <dgm:spPr/>
      <dgm:t>
        <a:bodyPr/>
        <a:lstStyle/>
        <a:p>
          <a:endParaRPr lang="en-US">
            <a:latin typeface="+mj-lt"/>
          </a:endParaRPr>
        </a:p>
      </dgm:t>
    </dgm:pt>
    <dgm:pt modelId="{A7635277-B6AF-417B-AB49-E517FD333C49}">
      <dgm:prSet phldrT="[Text]"/>
      <dgm:spPr/>
      <dgm:t>
        <a:bodyPr/>
        <a:lstStyle/>
        <a:p>
          <a:r>
            <a:rPr lang="en-US" dirty="0">
              <a:latin typeface="+mj-lt"/>
            </a:rPr>
            <a:t>Data Lake</a:t>
          </a:r>
        </a:p>
      </dgm:t>
    </dgm:pt>
    <dgm:pt modelId="{C477E470-852C-42A8-B063-8341FC3C990C}" type="parTrans" cxnId="{876943E5-6311-4C46-B02D-095CFB15C899}">
      <dgm:prSet/>
      <dgm:spPr/>
      <dgm:t>
        <a:bodyPr/>
        <a:lstStyle/>
        <a:p>
          <a:endParaRPr lang="en-US">
            <a:latin typeface="+mj-lt"/>
          </a:endParaRPr>
        </a:p>
      </dgm:t>
    </dgm:pt>
    <dgm:pt modelId="{71F53B31-01A5-4EDB-848A-6A0AD6C5A84A}" type="sibTrans" cxnId="{876943E5-6311-4C46-B02D-095CFB15C899}">
      <dgm:prSet/>
      <dgm:spPr/>
      <dgm:t>
        <a:bodyPr/>
        <a:lstStyle/>
        <a:p>
          <a:endParaRPr lang="en-US">
            <a:latin typeface="+mj-lt"/>
          </a:endParaRPr>
        </a:p>
      </dgm:t>
    </dgm:pt>
    <dgm:pt modelId="{C693AF90-2E67-4389-9BB6-C5D2CAEEC1FF}">
      <dgm:prSet phldrT="[Text]"/>
      <dgm:spPr/>
      <dgm:t>
        <a:bodyPr/>
        <a:lstStyle/>
        <a:p>
          <a:r>
            <a:rPr lang="en-US" dirty="0">
              <a:latin typeface="+mj-lt"/>
            </a:rPr>
            <a:t>Event Hubs</a:t>
          </a:r>
        </a:p>
      </dgm:t>
    </dgm:pt>
    <dgm:pt modelId="{00079A4F-B938-401D-9474-8F2025C874A4}" type="parTrans" cxnId="{C1692AC0-BA0F-45DE-B396-12372577650D}">
      <dgm:prSet/>
      <dgm:spPr/>
      <dgm:t>
        <a:bodyPr/>
        <a:lstStyle/>
        <a:p>
          <a:endParaRPr lang="en-US">
            <a:latin typeface="+mj-lt"/>
          </a:endParaRPr>
        </a:p>
      </dgm:t>
    </dgm:pt>
    <dgm:pt modelId="{D443B56A-500B-4402-B1F6-0F52B8475755}" type="sibTrans" cxnId="{C1692AC0-BA0F-45DE-B396-12372577650D}">
      <dgm:prSet/>
      <dgm:spPr/>
      <dgm:t>
        <a:bodyPr/>
        <a:lstStyle/>
        <a:p>
          <a:endParaRPr lang="en-US">
            <a:latin typeface="+mj-lt"/>
          </a:endParaRPr>
        </a:p>
      </dgm:t>
    </dgm:pt>
    <dgm:pt modelId="{64841DF3-12D3-4C8A-A2EA-2845EC9F38D7}">
      <dgm:prSet phldrT="[Text]"/>
      <dgm:spPr/>
      <dgm:t>
        <a:bodyPr/>
        <a:lstStyle/>
        <a:p>
          <a:r>
            <a:rPr lang="en-US" dirty="0">
              <a:latin typeface="+mj-lt"/>
            </a:rPr>
            <a:t>Data Factory</a:t>
          </a:r>
        </a:p>
      </dgm:t>
    </dgm:pt>
    <dgm:pt modelId="{A9E857A5-108E-46DC-B1FD-F3877D7A6824}" type="parTrans" cxnId="{48C0D9DC-8DEF-4A18-A0E2-0A591D1D23D4}">
      <dgm:prSet/>
      <dgm:spPr/>
      <dgm:t>
        <a:bodyPr/>
        <a:lstStyle/>
        <a:p>
          <a:endParaRPr lang="en-US">
            <a:latin typeface="+mj-lt"/>
          </a:endParaRPr>
        </a:p>
      </dgm:t>
    </dgm:pt>
    <dgm:pt modelId="{063C695B-C458-492E-9DD8-8C80EDD037E4}" type="sibTrans" cxnId="{48C0D9DC-8DEF-4A18-A0E2-0A591D1D23D4}">
      <dgm:prSet/>
      <dgm:spPr/>
      <dgm:t>
        <a:bodyPr/>
        <a:lstStyle/>
        <a:p>
          <a:endParaRPr lang="en-US">
            <a:latin typeface="+mj-lt"/>
          </a:endParaRPr>
        </a:p>
      </dgm:t>
    </dgm:pt>
    <dgm:pt modelId="{F29A499B-128E-4ED9-A5CE-D3EC6833A092}">
      <dgm:prSet phldrT="[Text]"/>
      <dgm:spPr/>
      <dgm:t>
        <a:bodyPr/>
        <a:lstStyle/>
        <a:p>
          <a:r>
            <a:rPr lang="en-US" dirty="0">
              <a:latin typeface="+mj-lt"/>
            </a:rPr>
            <a:t>Data Catalog</a:t>
          </a:r>
        </a:p>
      </dgm:t>
    </dgm:pt>
    <dgm:pt modelId="{CDD56826-666D-4326-B961-511482B1AE98}" type="parTrans" cxnId="{201FA9D4-3A6B-489F-B035-67218D0EF8D5}">
      <dgm:prSet/>
      <dgm:spPr/>
      <dgm:t>
        <a:bodyPr/>
        <a:lstStyle/>
        <a:p>
          <a:endParaRPr lang="en-US">
            <a:latin typeface="+mj-lt"/>
          </a:endParaRPr>
        </a:p>
      </dgm:t>
    </dgm:pt>
    <dgm:pt modelId="{34E1B6F7-AFA1-45F6-B66D-CE24B6F4F3E6}" type="sibTrans" cxnId="{201FA9D4-3A6B-489F-B035-67218D0EF8D5}">
      <dgm:prSet/>
      <dgm:spPr/>
      <dgm:t>
        <a:bodyPr/>
        <a:lstStyle/>
        <a:p>
          <a:endParaRPr lang="en-US">
            <a:latin typeface="+mj-lt"/>
          </a:endParaRPr>
        </a:p>
      </dgm:t>
    </dgm:pt>
    <dgm:pt modelId="{87EED9D7-F903-415E-8AD5-FBB20E57F17C}">
      <dgm:prSet phldrT="[Text]"/>
      <dgm:spPr/>
      <dgm:t>
        <a:bodyPr/>
        <a:lstStyle/>
        <a:p>
          <a:r>
            <a:rPr lang="en-US" dirty="0">
              <a:latin typeface="+mj-lt"/>
            </a:rPr>
            <a:t>Microsoft Azure</a:t>
          </a:r>
        </a:p>
      </dgm:t>
    </dgm:pt>
    <dgm:pt modelId="{9CF7ABFF-4CAE-47CB-923D-1BC6D6E97E96}" type="parTrans" cxnId="{DB6381F9-22D0-4EC2-89ED-F9723FBC122B}">
      <dgm:prSet/>
      <dgm:spPr/>
      <dgm:t>
        <a:bodyPr/>
        <a:lstStyle/>
        <a:p>
          <a:endParaRPr lang="en-US">
            <a:latin typeface="+mj-lt"/>
          </a:endParaRPr>
        </a:p>
      </dgm:t>
    </dgm:pt>
    <dgm:pt modelId="{845A9F58-8459-4120-83F7-C236F902D2A4}" type="sibTrans" cxnId="{DB6381F9-22D0-4EC2-89ED-F9723FBC122B}">
      <dgm:prSet/>
      <dgm:spPr/>
      <dgm:t>
        <a:bodyPr/>
        <a:lstStyle/>
        <a:p>
          <a:endParaRPr lang="en-US">
            <a:latin typeface="+mj-lt"/>
          </a:endParaRPr>
        </a:p>
      </dgm:t>
    </dgm:pt>
    <dgm:pt modelId="{3245D8A3-8E5E-4370-9560-7D50F08D1AAC}" type="pres">
      <dgm:prSet presAssocID="{8DA69A69-DF68-414D-8EA4-5B891DFFA5AF}" presName="linear" presStyleCnt="0">
        <dgm:presLayoutVars>
          <dgm:dir/>
          <dgm:resizeHandles val="exact"/>
        </dgm:presLayoutVars>
      </dgm:prSet>
      <dgm:spPr/>
    </dgm:pt>
    <dgm:pt modelId="{591064D2-3FD8-4EBB-A7F6-6190915D84B9}" type="pres">
      <dgm:prSet presAssocID="{01BDD74D-C028-4813-9A40-60C9E2F57DB0}" presName="comp" presStyleCnt="0"/>
      <dgm:spPr/>
    </dgm:pt>
    <dgm:pt modelId="{38C1AABC-2A80-4D18-AB70-CD76795B5F08}" type="pres">
      <dgm:prSet presAssocID="{01BDD74D-C028-4813-9A40-60C9E2F57DB0}" presName="box" presStyleLbl="node1" presStyleIdx="0" presStyleCnt="11"/>
      <dgm:spPr/>
    </dgm:pt>
    <dgm:pt modelId="{36A321AB-B414-459A-92C0-C559ED15EF30}" type="pres">
      <dgm:prSet presAssocID="{01BDD74D-C028-4813-9A40-60C9E2F57DB0}" presName="img" presStyleLbl="fgImgPlace1" presStyleIdx="0" presStyleCnt="11" custScaleX="60155" custLinFactNeighborX="-20488" custLinFactNeighborY="-537"/>
      <dgm:spPr>
        <a:blipFill rotWithShape="1">
          <a:blip xmlns:r="http://schemas.openxmlformats.org/officeDocument/2006/relationships" r:embed="rId1"/>
          <a:stretch>
            <a:fillRect/>
          </a:stretch>
        </a:blipFill>
      </dgm:spPr>
    </dgm:pt>
    <dgm:pt modelId="{28517874-F162-4DF2-9EB3-F83C7A652985}" type="pres">
      <dgm:prSet presAssocID="{01BDD74D-C028-4813-9A40-60C9E2F57DB0}" presName="text" presStyleLbl="node1" presStyleIdx="0" presStyleCnt="11">
        <dgm:presLayoutVars>
          <dgm:bulletEnabled val="1"/>
        </dgm:presLayoutVars>
      </dgm:prSet>
      <dgm:spPr/>
    </dgm:pt>
    <dgm:pt modelId="{792ED8B5-2DD0-439D-81C0-CD908D092B9B}" type="pres">
      <dgm:prSet presAssocID="{F35B3DDF-F275-4912-BB0B-8814AF11EBD0}" presName="spacer" presStyleCnt="0"/>
      <dgm:spPr/>
    </dgm:pt>
    <dgm:pt modelId="{5CCFB758-000F-4683-BD12-C441C92A1487}" type="pres">
      <dgm:prSet presAssocID="{B1A5E10D-28EF-4A53-BB42-ADFCEDD33914}" presName="comp" presStyleCnt="0"/>
      <dgm:spPr/>
    </dgm:pt>
    <dgm:pt modelId="{72FDBD55-6070-4E85-AA3A-6F7522DCF49F}" type="pres">
      <dgm:prSet presAssocID="{B1A5E10D-28EF-4A53-BB42-ADFCEDD33914}" presName="box" presStyleLbl="node1" presStyleIdx="1" presStyleCnt="11"/>
      <dgm:spPr/>
    </dgm:pt>
    <dgm:pt modelId="{49D4FFC3-C990-4FEA-ADFC-9F2B001FE866}" type="pres">
      <dgm:prSet presAssocID="{B1A5E10D-28EF-4A53-BB42-ADFCEDD33914}" presName="img" presStyleLbl="fgImgPlace1" presStyleIdx="1" presStyleCnt="11" custScaleX="60155" custLinFactNeighborX="-20488" custLinFactNeighborY="-537"/>
      <dgm:spPr>
        <a:blipFill rotWithShape="1">
          <a:blip xmlns:r="http://schemas.openxmlformats.org/officeDocument/2006/relationships" r:embed="rId2"/>
          <a:stretch>
            <a:fillRect/>
          </a:stretch>
        </a:blipFill>
      </dgm:spPr>
    </dgm:pt>
    <dgm:pt modelId="{1A6920FE-A97C-4482-AA47-1D4A8C2D730F}" type="pres">
      <dgm:prSet presAssocID="{B1A5E10D-28EF-4A53-BB42-ADFCEDD33914}" presName="text" presStyleLbl="node1" presStyleIdx="1" presStyleCnt="11">
        <dgm:presLayoutVars>
          <dgm:bulletEnabled val="1"/>
        </dgm:presLayoutVars>
      </dgm:prSet>
      <dgm:spPr/>
    </dgm:pt>
    <dgm:pt modelId="{6A8B3FBB-BD6E-4DCA-BA20-9EF9BC5A78D3}" type="pres">
      <dgm:prSet presAssocID="{EE6CE372-F5B4-4C65-BB47-2D0CBB1D465F}" presName="spacer" presStyleCnt="0"/>
      <dgm:spPr/>
    </dgm:pt>
    <dgm:pt modelId="{EA6FEACF-09F4-4CA2-8178-78B09A7EFBBB}" type="pres">
      <dgm:prSet presAssocID="{AB393BA1-5855-49E3-9B86-59C4B29CEA69}" presName="comp" presStyleCnt="0"/>
      <dgm:spPr/>
    </dgm:pt>
    <dgm:pt modelId="{B3A218B0-FF83-4B81-B386-3F5787FB84AE}" type="pres">
      <dgm:prSet presAssocID="{AB393BA1-5855-49E3-9B86-59C4B29CEA69}" presName="box" presStyleLbl="node1" presStyleIdx="2" presStyleCnt="11"/>
      <dgm:spPr/>
    </dgm:pt>
    <dgm:pt modelId="{1DF032E0-13E8-404C-A3CD-F57FFFAF656E}" type="pres">
      <dgm:prSet presAssocID="{AB393BA1-5855-49E3-9B86-59C4B29CEA69}" presName="img" presStyleLbl="fgImgPlace1" presStyleIdx="2" presStyleCnt="11" custScaleX="60155" custLinFactNeighborX="-20488" custLinFactNeighborY="-537"/>
      <dgm:spPr>
        <a:blipFill rotWithShape="1">
          <a:blip xmlns:r="http://schemas.openxmlformats.org/officeDocument/2006/relationships" r:embed="rId3"/>
          <a:stretch>
            <a:fillRect/>
          </a:stretch>
        </a:blipFill>
      </dgm:spPr>
    </dgm:pt>
    <dgm:pt modelId="{9D8C2DA9-47A7-491C-9512-DC63D526E7DA}" type="pres">
      <dgm:prSet presAssocID="{AB393BA1-5855-49E3-9B86-59C4B29CEA69}" presName="text" presStyleLbl="node1" presStyleIdx="2" presStyleCnt="11">
        <dgm:presLayoutVars>
          <dgm:bulletEnabled val="1"/>
        </dgm:presLayoutVars>
      </dgm:prSet>
      <dgm:spPr/>
    </dgm:pt>
    <dgm:pt modelId="{A85F395D-8BD3-45D3-8EFF-7FA6AF594D0F}" type="pres">
      <dgm:prSet presAssocID="{CFE1A1C0-1939-44E8-B395-EE878B1AED03}" presName="spacer" presStyleCnt="0"/>
      <dgm:spPr/>
    </dgm:pt>
    <dgm:pt modelId="{9AB32DE8-9EB7-4A4C-838E-2A0D8828CDAA}" type="pres">
      <dgm:prSet presAssocID="{EA167186-6F53-4DC7-A045-E6417D37BF33}" presName="comp" presStyleCnt="0"/>
      <dgm:spPr/>
    </dgm:pt>
    <dgm:pt modelId="{5B74900C-2DC2-4F9C-83EA-B674B8C455C3}" type="pres">
      <dgm:prSet presAssocID="{EA167186-6F53-4DC7-A045-E6417D37BF33}" presName="box" presStyleLbl="node1" presStyleIdx="3" presStyleCnt="11"/>
      <dgm:spPr/>
    </dgm:pt>
    <dgm:pt modelId="{EB1CC876-66DD-4A75-B47F-79507A427898}" type="pres">
      <dgm:prSet presAssocID="{EA167186-6F53-4DC7-A045-E6417D37BF33}" presName="img" presStyleLbl="fgImgPlace1" presStyleIdx="3" presStyleCnt="11" custScaleX="60155" custLinFactNeighborX="-20488" custLinFactNeighborY="-537"/>
      <dgm:spPr>
        <a:blipFill rotWithShape="1">
          <a:blip xmlns:r="http://schemas.openxmlformats.org/officeDocument/2006/relationships" r:embed="rId4"/>
          <a:stretch>
            <a:fillRect/>
          </a:stretch>
        </a:blipFill>
      </dgm:spPr>
    </dgm:pt>
    <dgm:pt modelId="{D2600429-E556-46F6-80E8-880C4820F655}" type="pres">
      <dgm:prSet presAssocID="{EA167186-6F53-4DC7-A045-E6417D37BF33}" presName="text" presStyleLbl="node1" presStyleIdx="3" presStyleCnt="11">
        <dgm:presLayoutVars>
          <dgm:bulletEnabled val="1"/>
        </dgm:presLayoutVars>
      </dgm:prSet>
      <dgm:spPr/>
    </dgm:pt>
    <dgm:pt modelId="{83EBCC5F-57AF-408C-86D9-F0E2ACBBE12B}" type="pres">
      <dgm:prSet presAssocID="{9FE0364B-209B-4506-9049-4401EA19AFBC}" presName="spacer" presStyleCnt="0"/>
      <dgm:spPr/>
    </dgm:pt>
    <dgm:pt modelId="{D671913D-787A-4165-BF27-FBE28E32140A}" type="pres">
      <dgm:prSet presAssocID="{CE92E143-7827-4B23-958C-F5E2952926EC}" presName="comp" presStyleCnt="0"/>
      <dgm:spPr/>
    </dgm:pt>
    <dgm:pt modelId="{24F30434-915D-401A-842A-C3A44E75A979}" type="pres">
      <dgm:prSet presAssocID="{CE92E143-7827-4B23-958C-F5E2952926EC}" presName="box" presStyleLbl="node1" presStyleIdx="4" presStyleCnt="11"/>
      <dgm:spPr/>
    </dgm:pt>
    <dgm:pt modelId="{950174B9-C3EC-407B-9908-DBD126F0CF41}" type="pres">
      <dgm:prSet presAssocID="{CE92E143-7827-4B23-958C-F5E2952926EC}" presName="img" presStyleLbl="fgImgPlace1" presStyleIdx="4" presStyleCnt="11" custScaleX="60155" custLinFactNeighborX="-20488" custLinFactNeighborY="-537"/>
      <dgm:spPr>
        <a:blipFill rotWithShape="1">
          <a:blip xmlns:r="http://schemas.openxmlformats.org/officeDocument/2006/relationships" r:embed="rId5"/>
          <a:stretch>
            <a:fillRect/>
          </a:stretch>
        </a:blipFill>
      </dgm:spPr>
    </dgm:pt>
    <dgm:pt modelId="{BE359720-3DA6-45D3-B11C-BC16643AE4C6}" type="pres">
      <dgm:prSet presAssocID="{CE92E143-7827-4B23-958C-F5E2952926EC}" presName="text" presStyleLbl="node1" presStyleIdx="4" presStyleCnt="11">
        <dgm:presLayoutVars>
          <dgm:bulletEnabled val="1"/>
        </dgm:presLayoutVars>
      </dgm:prSet>
      <dgm:spPr/>
    </dgm:pt>
    <dgm:pt modelId="{C92EF613-86C2-41A3-8E40-41CCD6533A25}" type="pres">
      <dgm:prSet presAssocID="{9E9FB500-C656-4896-8D25-03917B48704C}" presName="spacer" presStyleCnt="0"/>
      <dgm:spPr/>
    </dgm:pt>
    <dgm:pt modelId="{5501A42F-8519-4F4C-A382-D5698CC9EB98}" type="pres">
      <dgm:prSet presAssocID="{011E79D2-CE12-4ACC-B4D0-D9E003466911}" presName="comp" presStyleCnt="0"/>
      <dgm:spPr/>
    </dgm:pt>
    <dgm:pt modelId="{0451AC9A-80EA-4040-A601-D0B64C634769}" type="pres">
      <dgm:prSet presAssocID="{011E79D2-CE12-4ACC-B4D0-D9E003466911}" presName="box" presStyleLbl="node1" presStyleIdx="5" presStyleCnt="11"/>
      <dgm:spPr/>
    </dgm:pt>
    <dgm:pt modelId="{652C01DF-6697-4345-A0E8-6D9D71FC067D}" type="pres">
      <dgm:prSet presAssocID="{011E79D2-CE12-4ACC-B4D0-D9E003466911}" presName="img" presStyleLbl="fgImgPlace1" presStyleIdx="5" presStyleCnt="11" custScaleX="60155" custLinFactNeighborX="-20488" custLinFactNeighborY="-537"/>
      <dgm:spPr>
        <a:blipFill rotWithShape="1">
          <a:blip xmlns:r="http://schemas.openxmlformats.org/officeDocument/2006/relationships" r:embed="rId6"/>
          <a:stretch>
            <a:fillRect/>
          </a:stretch>
        </a:blipFill>
      </dgm:spPr>
    </dgm:pt>
    <dgm:pt modelId="{FF945313-E4F2-443C-9640-F8236C883CA0}" type="pres">
      <dgm:prSet presAssocID="{011E79D2-CE12-4ACC-B4D0-D9E003466911}" presName="text" presStyleLbl="node1" presStyleIdx="5" presStyleCnt="11">
        <dgm:presLayoutVars>
          <dgm:bulletEnabled val="1"/>
        </dgm:presLayoutVars>
      </dgm:prSet>
      <dgm:spPr/>
    </dgm:pt>
    <dgm:pt modelId="{4ACE9022-A491-4746-BF11-8D981CC25E13}" type="pres">
      <dgm:prSet presAssocID="{46FBF3BF-5D0C-4A35-BF9D-1D6E2F785FEA}" presName="spacer" presStyleCnt="0"/>
      <dgm:spPr/>
    </dgm:pt>
    <dgm:pt modelId="{52FEB890-62E1-4FA0-BDD3-B9C9A73AC6EC}" type="pres">
      <dgm:prSet presAssocID="{A7635277-B6AF-417B-AB49-E517FD333C49}" presName="comp" presStyleCnt="0"/>
      <dgm:spPr/>
    </dgm:pt>
    <dgm:pt modelId="{5409D7A6-CC75-4C85-8991-EB5D7E28A32C}" type="pres">
      <dgm:prSet presAssocID="{A7635277-B6AF-417B-AB49-E517FD333C49}" presName="box" presStyleLbl="node1" presStyleIdx="6" presStyleCnt="11"/>
      <dgm:spPr/>
    </dgm:pt>
    <dgm:pt modelId="{3D67FE96-9C43-493B-A35A-BE8C89C56380}" type="pres">
      <dgm:prSet presAssocID="{A7635277-B6AF-417B-AB49-E517FD333C49}" presName="img" presStyleLbl="fgImgPlace1" presStyleIdx="6" presStyleCnt="11" custScaleX="60155" custLinFactNeighborX="-19888" custLinFactNeighborY="-2715"/>
      <dgm:spPr>
        <a:blipFill rotWithShape="1">
          <a:blip xmlns:r="http://schemas.openxmlformats.org/officeDocument/2006/relationships" r:embed="rId7"/>
          <a:stretch>
            <a:fillRect/>
          </a:stretch>
        </a:blipFill>
      </dgm:spPr>
    </dgm:pt>
    <dgm:pt modelId="{AF33F1AF-16D3-496F-A982-1F3CBCF4FF8E}" type="pres">
      <dgm:prSet presAssocID="{A7635277-B6AF-417B-AB49-E517FD333C49}" presName="text" presStyleLbl="node1" presStyleIdx="6" presStyleCnt="11">
        <dgm:presLayoutVars>
          <dgm:bulletEnabled val="1"/>
        </dgm:presLayoutVars>
      </dgm:prSet>
      <dgm:spPr/>
    </dgm:pt>
    <dgm:pt modelId="{3F77CCF2-5A1B-4171-9950-5A4EA6297782}" type="pres">
      <dgm:prSet presAssocID="{71F53B31-01A5-4EDB-848A-6A0AD6C5A84A}" presName="spacer" presStyleCnt="0"/>
      <dgm:spPr/>
    </dgm:pt>
    <dgm:pt modelId="{1C6DEF61-7DE4-4DB2-88CF-A29B18B2A57B}" type="pres">
      <dgm:prSet presAssocID="{C693AF90-2E67-4389-9BB6-C5D2CAEEC1FF}" presName="comp" presStyleCnt="0"/>
      <dgm:spPr/>
    </dgm:pt>
    <dgm:pt modelId="{0663B67C-F1DA-4AE8-B977-A72746B0B55A}" type="pres">
      <dgm:prSet presAssocID="{C693AF90-2E67-4389-9BB6-C5D2CAEEC1FF}" presName="box" presStyleLbl="node1" presStyleIdx="7" presStyleCnt="11"/>
      <dgm:spPr/>
    </dgm:pt>
    <dgm:pt modelId="{2B57F23D-5CBE-4272-A6F4-7FAA825DD5F1}" type="pres">
      <dgm:prSet presAssocID="{C693AF90-2E67-4389-9BB6-C5D2CAEEC1FF}" presName="img" presStyleLbl="fgImgPlace1" presStyleIdx="7" presStyleCnt="11" custScaleX="60155" custLinFactNeighborX="-20488" custLinFactNeighborY="-2715"/>
      <dgm:spPr>
        <a:blipFill rotWithShape="1">
          <a:blip xmlns:r="http://schemas.openxmlformats.org/officeDocument/2006/relationships" r:embed="rId8"/>
          <a:stretch>
            <a:fillRect/>
          </a:stretch>
        </a:blipFill>
      </dgm:spPr>
    </dgm:pt>
    <dgm:pt modelId="{DD756981-072A-4F78-ABC7-E2A848633815}" type="pres">
      <dgm:prSet presAssocID="{C693AF90-2E67-4389-9BB6-C5D2CAEEC1FF}" presName="text" presStyleLbl="node1" presStyleIdx="7" presStyleCnt="11">
        <dgm:presLayoutVars>
          <dgm:bulletEnabled val="1"/>
        </dgm:presLayoutVars>
      </dgm:prSet>
      <dgm:spPr/>
    </dgm:pt>
    <dgm:pt modelId="{E0FA4780-42E5-4D96-9EA9-AFC90BAEB194}" type="pres">
      <dgm:prSet presAssocID="{D443B56A-500B-4402-B1F6-0F52B8475755}" presName="spacer" presStyleCnt="0"/>
      <dgm:spPr/>
    </dgm:pt>
    <dgm:pt modelId="{F5029F3B-CDB2-44B7-954A-4E4749636DCA}" type="pres">
      <dgm:prSet presAssocID="{64841DF3-12D3-4C8A-A2EA-2845EC9F38D7}" presName="comp" presStyleCnt="0"/>
      <dgm:spPr/>
    </dgm:pt>
    <dgm:pt modelId="{A07D94F9-EF30-4E20-8074-E413B239BE21}" type="pres">
      <dgm:prSet presAssocID="{64841DF3-12D3-4C8A-A2EA-2845EC9F38D7}" presName="box" presStyleLbl="node1" presStyleIdx="8" presStyleCnt="11"/>
      <dgm:spPr/>
    </dgm:pt>
    <dgm:pt modelId="{345EE191-2927-4C04-BBA1-919BF1F7941C}" type="pres">
      <dgm:prSet presAssocID="{64841DF3-12D3-4C8A-A2EA-2845EC9F38D7}" presName="img" presStyleLbl="fgImgPlace1" presStyleIdx="8" presStyleCnt="11" custScaleX="60155" custLinFactNeighborX="-20488" custLinFactNeighborY="-537"/>
      <dgm:spPr>
        <a:blipFill rotWithShape="1">
          <a:blip xmlns:r="http://schemas.openxmlformats.org/officeDocument/2006/relationships" r:embed="rId9"/>
          <a:stretch>
            <a:fillRect/>
          </a:stretch>
        </a:blipFill>
      </dgm:spPr>
    </dgm:pt>
    <dgm:pt modelId="{C195AAFC-E8BF-40C9-B2F5-85621CF3B988}" type="pres">
      <dgm:prSet presAssocID="{64841DF3-12D3-4C8A-A2EA-2845EC9F38D7}" presName="text" presStyleLbl="node1" presStyleIdx="8" presStyleCnt="11">
        <dgm:presLayoutVars>
          <dgm:bulletEnabled val="1"/>
        </dgm:presLayoutVars>
      </dgm:prSet>
      <dgm:spPr/>
    </dgm:pt>
    <dgm:pt modelId="{D0A85CFD-6D98-4CF0-8A55-F4BCC6FC3771}" type="pres">
      <dgm:prSet presAssocID="{063C695B-C458-492E-9DD8-8C80EDD037E4}" presName="spacer" presStyleCnt="0"/>
      <dgm:spPr/>
    </dgm:pt>
    <dgm:pt modelId="{94C32681-5B23-4625-9591-31D5A6915637}" type="pres">
      <dgm:prSet presAssocID="{F29A499B-128E-4ED9-A5CE-D3EC6833A092}" presName="comp" presStyleCnt="0"/>
      <dgm:spPr/>
    </dgm:pt>
    <dgm:pt modelId="{21FD6BEC-2BE4-4D3B-9A53-4987D8EC21AC}" type="pres">
      <dgm:prSet presAssocID="{F29A499B-128E-4ED9-A5CE-D3EC6833A092}" presName="box" presStyleLbl="node1" presStyleIdx="9" presStyleCnt="11"/>
      <dgm:spPr/>
    </dgm:pt>
    <dgm:pt modelId="{D2F6CFBC-E310-4008-BC7E-CB6B12D9A319}" type="pres">
      <dgm:prSet presAssocID="{F29A499B-128E-4ED9-A5CE-D3EC6833A092}" presName="img" presStyleLbl="fgImgPlace1" presStyleIdx="9" presStyleCnt="11" custScaleX="60155" custLinFactNeighborX="-20488" custLinFactNeighborY="-537"/>
      <dgm:spPr>
        <a:blipFill rotWithShape="1">
          <a:blip xmlns:r="http://schemas.openxmlformats.org/officeDocument/2006/relationships" r:embed="rId10"/>
          <a:stretch>
            <a:fillRect/>
          </a:stretch>
        </a:blipFill>
      </dgm:spPr>
    </dgm:pt>
    <dgm:pt modelId="{98518E50-33B5-489D-8AF9-BC11CE515B19}" type="pres">
      <dgm:prSet presAssocID="{F29A499B-128E-4ED9-A5CE-D3EC6833A092}" presName="text" presStyleLbl="node1" presStyleIdx="9" presStyleCnt="11">
        <dgm:presLayoutVars>
          <dgm:bulletEnabled val="1"/>
        </dgm:presLayoutVars>
      </dgm:prSet>
      <dgm:spPr/>
    </dgm:pt>
    <dgm:pt modelId="{80A128C3-D91C-4A8E-897E-BE277EDC32F6}" type="pres">
      <dgm:prSet presAssocID="{34E1B6F7-AFA1-45F6-B66D-CE24B6F4F3E6}" presName="spacer" presStyleCnt="0"/>
      <dgm:spPr/>
    </dgm:pt>
    <dgm:pt modelId="{1B86AED6-E9C3-474C-A1B9-5352341B06AF}" type="pres">
      <dgm:prSet presAssocID="{87EED9D7-F903-415E-8AD5-FBB20E57F17C}" presName="comp" presStyleCnt="0"/>
      <dgm:spPr/>
    </dgm:pt>
    <dgm:pt modelId="{19D75B96-0BDF-4D45-9CDA-670E68961379}" type="pres">
      <dgm:prSet presAssocID="{87EED9D7-F903-415E-8AD5-FBB20E57F17C}" presName="box" presStyleLbl="node1" presStyleIdx="10" presStyleCnt="11"/>
      <dgm:spPr/>
    </dgm:pt>
    <dgm:pt modelId="{B2B9AF7E-0611-4D90-B154-64C9BDFC0B76}" type="pres">
      <dgm:prSet presAssocID="{87EED9D7-F903-415E-8AD5-FBB20E57F17C}" presName="img" presStyleLbl="fgImgPlace1" presStyleIdx="10" presStyleCnt="11" custScaleX="60155" custLinFactNeighborX="-20488" custLinFactNeighborY="-537"/>
      <dgm:spPr>
        <a:blipFill rotWithShape="1">
          <a:blip xmlns:r="http://schemas.openxmlformats.org/officeDocument/2006/relationships" r:embed="rId11"/>
          <a:stretch>
            <a:fillRect/>
          </a:stretch>
        </a:blipFill>
      </dgm:spPr>
    </dgm:pt>
    <dgm:pt modelId="{19010068-538E-4E7A-921F-CCE3278EC84F}" type="pres">
      <dgm:prSet presAssocID="{87EED9D7-F903-415E-8AD5-FBB20E57F17C}" presName="text" presStyleLbl="node1" presStyleIdx="10" presStyleCnt="11">
        <dgm:presLayoutVars>
          <dgm:bulletEnabled val="1"/>
        </dgm:presLayoutVars>
      </dgm:prSet>
      <dgm:spPr/>
    </dgm:pt>
  </dgm:ptLst>
  <dgm:cxnLst>
    <dgm:cxn modelId="{7014A16F-3386-4271-823A-1E3479C1A3C3}" type="presOf" srcId="{F29A499B-128E-4ED9-A5CE-D3EC6833A092}" destId="{21FD6BEC-2BE4-4D3B-9A53-4987D8EC21AC}" srcOrd="0" destOrd="0" presId="urn:microsoft.com/office/officeart/2005/8/layout/vList4"/>
    <dgm:cxn modelId="{6810593D-FC64-4330-BAC8-B050DD661FD7}" type="presOf" srcId="{64841DF3-12D3-4C8A-A2EA-2845EC9F38D7}" destId="{A07D94F9-EF30-4E20-8074-E413B239BE21}" srcOrd="0" destOrd="0" presId="urn:microsoft.com/office/officeart/2005/8/layout/vList4"/>
    <dgm:cxn modelId="{25B30777-672F-453D-A925-DF4A3A8C0EF6}" type="presOf" srcId="{EA167186-6F53-4DC7-A045-E6417D37BF33}" destId="{5B74900C-2DC2-4F9C-83EA-B674B8C455C3}" srcOrd="0" destOrd="0" presId="urn:microsoft.com/office/officeart/2005/8/layout/vList4"/>
    <dgm:cxn modelId="{29C867A9-706B-4082-99B1-529CF2AA153D}" type="presOf" srcId="{011E79D2-CE12-4ACC-B4D0-D9E003466911}" destId="{FF945313-E4F2-443C-9640-F8236C883CA0}" srcOrd="1" destOrd="0" presId="urn:microsoft.com/office/officeart/2005/8/layout/vList4"/>
    <dgm:cxn modelId="{A7E17DD4-E0EF-4403-AB26-19B7F75407DC}" type="presOf" srcId="{F29A499B-128E-4ED9-A5CE-D3EC6833A092}" destId="{98518E50-33B5-489D-8AF9-BC11CE515B19}" srcOrd="1" destOrd="0" presId="urn:microsoft.com/office/officeart/2005/8/layout/vList4"/>
    <dgm:cxn modelId="{7E99E56C-D01E-44CA-A2A6-B16A3CB3FA6E}" type="presOf" srcId="{CE92E143-7827-4B23-958C-F5E2952926EC}" destId="{24F30434-915D-401A-842A-C3A44E75A979}" srcOrd="0" destOrd="0" presId="urn:microsoft.com/office/officeart/2005/8/layout/vList4"/>
    <dgm:cxn modelId="{F7E6D72A-5B0B-4536-9DE8-41E4810247B9}" srcId="{8DA69A69-DF68-414D-8EA4-5B891DFFA5AF}" destId="{011E79D2-CE12-4ACC-B4D0-D9E003466911}" srcOrd="5" destOrd="0" parTransId="{29814D48-68C9-4F1B-A742-4632C8E2EA9C}" sibTransId="{46FBF3BF-5D0C-4A35-BF9D-1D6E2F785FEA}"/>
    <dgm:cxn modelId="{DB6381F9-22D0-4EC2-89ED-F9723FBC122B}" srcId="{8DA69A69-DF68-414D-8EA4-5B891DFFA5AF}" destId="{87EED9D7-F903-415E-8AD5-FBB20E57F17C}" srcOrd="10" destOrd="0" parTransId="{9CF7ABFF-4CAE-47CB-923D-1BC6D6E97E96}" sibTransId="{845A9F58-8459-4120-83F7-C236F902D2A4}"/>
    <dgm:cxn modelId="{48C0D9DC-8DEF-4A18-A0E2-0A591D1D23D4}" srcId="{8DA69A69-DF68-414D-8EA4-5B891DFFA5AF}" destId="{64841DF3-12D3-4C8A-A2EA-2845EC9F38D7}" srcOrd="8" destOrd="0" parTransId="{A9E857A5-108E-46DC-B1FD-F3877D7A6824}" sibTransId="{063C695B-C458-492E-9DD8-8C80EDD037E4}"/>
    <dgm:cxn modelId="{FADBC256-B53A-4253-82DD-D9B3730AA1EC}" type="presOf" srcId="{01BDD74D-C028-4813-9A40-60C9E2F57DB0}" destId="{28517874-F162-4DF2-9EB3-F83C7A652985}" srcOrd="1" destOrd="0" presId="urn:microsoft.com/office/officeart/2005/8/layout/vList4"/>
    <dgm:cxn modelId="{837E456E-152E-40BC-BEB1-7C6227FC233C}" type="presOf" srcId="{01BDD74D-C028-4813-9A40-60C9E2F57DB0}" destId="{38C1AABC-2A80-4D18-AB70-CD76795B5F08}" srcOrd="0" destOrd="0" presId="urn:microsoft.com/office/officeart/2005/8/layout/vList4"/>
    <dgm:cxn modelId="{E9CD9087-4D76-4DCC-976E-CEF58E4BDA7B}" srcId="{8DA69A69-DF68-414D-8EA4-5B891DFFA5AF}" destId="{01BDD74D-C028-4813-9A40-60C9E2F57DB0}" srcOrd="0" destOrd="0" parTransId="{B1B801B5-C3BE-4F62-9805-943F9ECCC34B}" sibTransId="{F35B3DDF-F275-4912-BB0B-8814AF11EBD0}"/>
    <dgm:cxn modelId="{DCC80B1A-4E1A-41D5-958B-E5CD639B1B0D}" type="presOf" srcId="{C693AF90-2E67-4389-9BB6-C5D2CAEEC1FF}" destId="{0663B67C-F1DA-4AE8-B977-A72746B0B55A}" srcOrd="0" destOrd="0" presId="urn:microsoft.com/office/officeart/2005/8/layout/vList4"/>
    <dgm:cxn modelId="{3E7B37FE-1F03-4B51-8A7C-5C8D70514817}" type="presOf" srcId="{A7635277-B6AF-417B-AB49-E517FD333C49}" destId="{AF33F1AF-16D3-496F-A982-1F3CBCF4FF8E}" srcOrd="1" destOrd="0" presId="urn:microsoft.com/office/officeart/2005/8/layout/vList4"/>
    <dgm:cxn modelId="{262F509B-DD73-42F9-9BA8-435A6AFF57F4}" type="presOf" srcId="{AB393BA1-5855-49E3-9B86-59C4B29CEA69}" destId="{9D8C2DA9-47A7-491C-9512-DC63D526E7DA}" srcOrd="1" destOrd="0" presId="urn:microsoft.com/office/officeart/2005/8/layout/vList4"/>
    <dgm:cxn modelId="{462546E9-5FC3-417D-9427-DDC067EFBA53}" type="presOf" srcId="{8DA69A69-DF68-414D-8EA4-5B891DFFA5AF}" destId="{3245D8A3-8E5E-4370-9560-7D50F08D1AAC}" srcOrd="0" destOrd="0" presId="urn:microsoft.com/office/officeart/2005/8/layout/vList4"/>
    <dgm:cxn modelId="{8A6687E5-21B2-435D-B10C-332268480112}" srcId="{8DA69A69-DF68-414D-8EA4-5B891DFFA5AF}" destId="{EA167186-6F53-4DC7-A045-E6417D37BF33}" srcOrd="3" destOrd="0" parTransId="{AA45AC8D-893E-49DB-8316-613BBB5646B5}" sibTransId="{9FE0364B-209B-4506-9049-4401EA19AFBC}"/>
    <dgm:cxn modelId="{8D5B359C-D9E7-4132-8320-19453F90DDBD}" type="presOf" srcId="{A7635277-B6AF-417B-AB49-E517FD333C49}" destId="{5409D7A6-CC75-4C85-8991-EB5D7E28A32C}" srcOrd="0" destOrd="0" presId="urn:microsoft.com/office/officeart/2005/8/layout/vList4"/>
    <dgm:cxn modelId="{77186B5F-C2E3-45CC-B1DA-3307947B8E66}" type="presOf" srcId="{011E79D2-CE12-4ACC-B4D0-D9E003466911}" destId="{0451AC9A-80EA-4040-A601-D0B64C634769}" srcOrd="0" destOrd="0" presId="urn:microsoft.com/office/officeart/2005/8/layout/vList4"/>
    <dgm:cxn modelId="{201FA9D4-3A6B-489F-B035-67218D0EF8D5}" srcId="{8DA69A69-DF68-414D-8EA4-5B891DFFA5AF}" destId="{F29A499B-128E-4ED9-A5CE-D3EC6833A092}" srcOrd="9" destOrd="0" parTransId="{CDD56826-666D-4326-B961-511482B1AE98}" sibTransId="{34E1B6F7-AFA1-45F6-B66D-CE24B6F4F3E6}"/>
    <dgm:cxn modelId="{6C569132-71B0-4D77-BA25-C5457021688A}" srcId="{8DA69A69-DF68-414D-8EA4-5B891DFFA5AF}" destId="{B1A5E10D-28EF-4A53-BB42-ADFCEDD33914}" srcOrd="1" destOrd="0" parTransId="{4330C9E9-E525-4CE3-8D83-79DC3A7B548F}" sibTransId="{EE6CE372-F5B4-4C65-BB47-2D0CBB1D465F}"/>
    <dgm:cxn modelId="{3F70E3EC-8DAA-43A9-9201-E83ACE16E279}" type="presOf" srcId="{B1A5E10D-28EF-4A53-BB42-ADFCEDD33914}" destId="{72FDBD55-6070-4E85-AA3A-6F7522DCF49F}" srcOrd="0" destOrd="0" presId="urn:microsoft.com/office/officeart/2005/8/layout/vList4"/>
    <dgm:cxn modelId="{C1692AC0-BA0F-45DE-B396-12372577650D}" srcId="{8DA69A69-DF68-414D-8EA4-5B891DFFA5AF}" destId="{C693AF90-2E67-4389-9BB6-C5D2CAEEC1FF}" srcOrd="7" destOrd="0" parTransId="{00079A4F-B938-401D-9474-8F2025C874A4}" sibTransId="{D443B56A-500B-4402-B1F6-0F52B8475755}"/>
    <dgm:cxn modelId="{54181BCC-794E-4A3F-B69C-66358F54999E}" type="presOf" srcId="{87EED9D7-F903-415E-8AD5-FBB20E57F17C}" destId="{19010068-538E-4E7A-921F-CCE3278EC84F}" srcOrd="1" destOrd="0" presId="urn:microsoft.com/office/officeart/2005/8/layout/vList4"/>
    <dgm:cxn modelId="{A38FB077-A8D7-40C2-A916-B9A2D88691E7}" type="presOf" srcId="{B1A5E10D-28EF-4A53-BB42-ADFCEDD33914}" destId="{1A6920FE-A97C-4482-AA47-1D4A8C2D730F}" srcOrd="1" destOrd="0" presId="urn:microsoft.com/office/officeart/2005/8/layout/vList4"/>
    <dgm:cxn modelId="{BF22BE76-DB17-4A7C-9C6A-6A21FB3D184F}" type="presOf" srcId="{AB393BA1-5855-49E3-9B86-59C4B29CEA69}" destId="{B3A218B0-FF83-4B81-B386-3F5787FB84AE}" srcOrd="0" destOrd="0" presId="urn:microsoft.com/office/officeart/2005/8/layout/vList4"/>
    <dgm:cxn modelId="{128B230A-B289-4CB6-A6AF-E0A33A02F871}" type="presOf" srcId="{64841DF3-12D3-4C8A-A2EA-2845EC9F38D7}" destId="{C195AAFC-E8BF-40C9-B2F5-85621CF3B988}" srcOrd="1" destOrd="0" presId="urn:microsoft.com/office/officeart/2005/8/layout/vList4"/>
    <dgm:cxn modelId="{F3ED81DC-2C51-47EE-A31F-B6E976CD6458}" srcId="{8DA69A69-DF68-414D-8EA4-5B891DFFA5AF}" destId="{AB393BA1-5855-49E3-9B86-59C4B29CEA69}" srcOrd="2" destOrd="0" parTransId="{FB136A78-F087-494B-A4DD-4AF3EF01BF04}" sibTransId="{CFE1A1C0-1939-44E8-B395-EE878B1AED03}"/>
    <dgm:cxn modelId="{705C021B-4DD7-4E5D-89C9-EDEBD5F17379}" type="presOf" srcId="{CE92E143-7827-4B23-958C-F5E2952926EC}" destId="{BE359720-3DA6-45D3-B11C-BC16643AE4C6}" srcOrd="1" destOrd="0" presId="urn:microsoft.com/office/officeart/2005/8/layout/vList4"/>
    <dgm:cxn modelId="{824BE007-D8A8-4BC5-A897-8BE1CC7D6DDF}" type="presOf" srcId="{C693AF90-2E67-4389-9BB6-C5D2CAEEC1FF}" destId="{DD756981-072A-4F78-ABC7-E2A848633815}" srcOrd="1" destOrd="0" presId="urn:microsoft.com/office/officeart/2005/8/layout/vList4"/>
    <dgm:cxn modelId="{16E582A8-0239-4002-981C-4F30902CDCB6}" type="presOf" srcId="{87EED9D7-F903-415E-8AD5-FBB20E57F17C}" destId="{19D75B96-0BDF-4D45-9CDA-670E68961379}" srcOrd="0" destOrd="0" presId="urn:microsoft.com/office/officeart/2005/8/layout/vList4"/>
    <dgm:cxn modelId="{E8D64E65-62F1-48F0-A7F4-ECB5F990C6DE}" type="presOf" srcId="{EA167186-6F53-4DC7-A045-E6417D37BF33}" destId="{D2600429-E556-46F6-80E8-880C4820F655}" srcOrd="1" destOrd="0" presId="urn:microsoft.com/office/officeart/2005/8/layout/vList4"/>
    <dgm:cxn modelId="{047C46A9-F2CD-4146-951F-467E5F8CB8ED}" srcId="{8DA69A69-DF68-414D-8EA4-5B891DFFA5AF}" destId="{CE92E143-7827-4B23-958C-F5E2952926EC}" srcOrd="4" destOrd="0" parTransId="{C4D32C04-360F-4F8D-8B67-B5640F4A6D8F}" sibTransId="{9E9FB500-C656-4896-8D25-03917B48704C}"/>
    <dgm:cxn modelId="{876943E5-6311-4C46-B02D-095CFB15C899}" srcId="{8DA69A69-DF68-414D-8EA4-5B891DFFA5AF}" destId="{A7635277-B6AF-417B-AB49-E517FD333C49}" srcOrd="6" destOrd="0" parTransId="{C477E470-852C-42A8-B063-8341FC3C990C}" sibTransId="{71F53B31-01A5-4EDB-848A-6A0AD6C5A84A}"/>
    <dgm:cxn modelId="{B3C88914-B663-4D88-A984-53C0250FD5C5}" type="presParOf" srcId="{3245D8A3-8E5E-4370-9560-7D50F08D1AAC}" destId="{591064D2-3FD8-4EBB-A7F6-6190915D84B9}" srcOrd="0" destOrd="0" presId="urn:microsoft.com/office/officeart/2005/8/layout/vList4"/>
    <dgm:cxn modelId="{574EADAF-8F63-40AA-AA0F-59CAD1AD1AA3}" type="presParOf" srcId="{591064D2-3FD8-4EBB-A7F6-6190915D84B9}" destId="{38C1AABC-2A80-4D18-AB70-CD76795B5F08}" srcOrd="0" destOrd="0" presId="urn:microsoft.com/office/officeart/2005/8/layout/vList4"/>
    <dgm:cxn modelId="{BC1BED41-3394-419A-9D43-3FA1CFB12F76}" type="presParOf" srcId="{591064D2-3FD8-4EBB-A7F6-6190915D84B9}" destId="{36A321AB-B414-459A-92C0-C559ED15EF30}" srcOrd="1" destOrd="0" presId="urn:microsoft.com/office/officeart/2005/8/layout/vList4"/>
    <dgm:cxn modelId="{6F0DD6FB-42C7-4A25-A639-2852B0017587}" type="presParOf" srcId="{591064D2-3FD8-4EBB-A7F6-6190915D84B9}" destId="{28517874-F162-4DF2-9EB3-F83C7A652985}" srcOrd="2" destOrd="0" presId="urn:microsoft.com/office/officeart/2005/8/layout/vList4"/>
    <dgm:cxn modelId="{16FDA3BE-ECE7-4135-AFFA-D81F960A5FFF}" type="presParOf" srcId="{3245D8A3-8E5E-4370-9560-7D50F08D1AAC}" destId="{792ED8B5-2DD0-439D-81C0-CD908D092B9B}" srcOrd="1" destOrd="0" presId="urn:microsoft.com/office/officeart/2005/8/layout/vList4"/>
    <dgm:cxn modelId="{A42D61C2-70B5-4757-9020-03E4A49145FD}" type="presParOf" srcId="{3245D8A3-8E5E-4370-9560-7D50F08D1AAC}" destId="{5CCFB758-000F-4683-BD12-C441C92A1487}" srcOrd="2" destOrd="0" presId="urn:microsoft.com/office/officeart/2005/8/layout/vList4"/>
    <dgm:cxn modelId="{DB30D0F6-4E41-42EB-969D-F85FBD0287CD}" type="presParOf" srcId="{5CCFB758-000F-4683-BD12-C441C92A1487}" destId="{72FDBD55-6070-4E85-AA3A-6F7522DCF49F}" srcOrd="0" destOrd="0" presId="urn:microsoft.com/office/officeart/2005/8/layout/vList4"/>
    <dgm:cxn modelId="{D03E5505-A0C8-4ABF-BCB0-672DF780346B}" type="presParOf" srcId="{5CCFB758-000F-4683-BD12-C441C92A1487}" destId="{49D4FFC3-C990-4FEA-ADFC-9F2B001FE866}" srcOrd="1" destOrd="0" presId="urn:microsoft.com/office/officeart/2005/8/layout/vList4"/>
    <dgm:cxn modelId="{F9B4323A-3D88-4B46-9F00-D85C99ED5F56}" type="presParOf" srcId="{5CCFB758-000F-4683-BD12-C441C92A1487}" destId="{1A6920FE-A97C-4482-AA47-1D4A8C2D730F}" srcOrd="2" destOrd="0" presId="urn:microsoft.com/office/officeart/2005/8/layout/vList4"/>
    <dgm:cxn modelId="{67AEB38C-FDB7-4835-8E9F-26A4E24FA82C}" type="presParOf" srcId="{3245D8A3-8E5E-4370-9560-7D50F08D1AAC}" destId="{6A8B3FBB-BD6E-4DCA-BA20-9EF9BC5A78D3}" srcOrd="3" destOrd="0" presId="urn:microsoft.com/office/officeart/2005/8/layout/vList4"/>
    <dgm:cxn modelId="{B895419C-9383-42BC-A372-200B9087388D}" type="presParOf" srcId="{3245D8A3-8E5E-4370-9560-7D50F08D1AAC}" destId="{EA6FEACF-09F4-4CA2-8178-78B09A7EFBBB}" srcOrd="4" destOrd="0" presId="urn:microsoft.com/office/officeart/2005/8/layout/vList4"/>
    <dgm:cxn modelId="{08BFFBE1-78EB-4BA1-B032-DBF0107DDD16}" type="presParOf" srcId="{EA6FEACF-09F4-4CA2-8178-78B09A7EFBBB}" destId="{B3A218B0-FF83-4B81-B386-3F5787FB84AE}" srcOrd="0" destOrd="0" presId="urn:microsoft.com/office/officeart/2005/8/layout/vList4"/>
    <dgm:cxn modelId="{6B50E8C2-74D1-4E54-8E91-36B44D79F6DB}" type="presParOf" srcId="{EA6FEACF-09F4-4CA2-8178-78B09A7EFBBB}" destId="{1DF032E0-13E8-404C-A3CD-F57FFFAF656E}" srcOrd="1" destOrd="0" presId="urn:microsoft.com/office/officeart/2005/8/layout/vList4"/>
    <dgm:cxn modelId="{659CEC41-3E7A-452A-982F-A315D683BA61}" type="presParOf" srcId="{EA6FEACF-09F4-4CA2-8178-78B09A7EFBBB}" destId="{9D8C2DA9-47A7-491C-9512-DC63D526E7DA}" srcOrd="2" destOrd="0" presId="urn:microsoft.com/office/officeart/2005/8/layout/vList4"/>
    <dgm:cxn modelId="{45611137-4960-4E91-9F1B-79DAFA9663ED}" type="presParOf" srcId="{3245D8A3-8E5E-4370-9560-7D50F08D1AAC}" destId="{A85F395D-8BD3-45D3-8EFF-7FA6AF594D0F}" srcOrd="5" destOrd="0" presId="urn:microsoft.com/office/officeart/2005/8/layout/vList4"/>
    <dgm:cxn modelId="{C48FE5F9-7C44-4570-A886-A8EF148B1C55}" type="presParOf" srcId="{3245D8A3-8E5E-4370-9560-7D50F08D1AAC}" destId="{9AB32DE8-9EB7-4A4C-838E-2A0D8828CDAA}" srcOrd="6" destOrd="0" presId="urn:microsoft.com/office/officeart/2005/8/layout/vList4"/>
    <dgm:cxn modelId="{86099A45-8003-44F3-96BC-7C07FB7EE766}" type="presParOf" srcId="{9AB32DE8-9EB7-4A4C-838E-2A0D8828CDAA}" destId="{5B74900C-2DC2-4F9C-83EA-B674B8C455C3}" srcOrd="0" destOrd="0" presId="urn:microsoft.com/office/officeart/2005/8/layout/vList4"/>
    <dgm:cxn modelId="{F5B94FD4-0EEA-4706-8C6A-6ED3867F082D}" type="presParOf" srcId="{9AB32DE8-9EB7-4A4C-838E-2A0D8828CDAA}" destId="{EB1CC876-66DD-4A75-B47F-79507A427898}" srcOrd="1" destOrd="0" presId="urn:microsoft.com/office/officeart/2005/8/layout/vList4"/>
    <dgm:cxn modelId="{A822CBB4-6983-4DEC-8CBE-F5BA3D985FA7}" type="presParOf" srcId="{9AB32DE8-9EB7-4A4C-838E-2A0D8828CDAA}" destId="{D2600429-E556-46F6-80E8-880C4820F655}" srcOrd="2" destOrd="0" presId="urn:microsoft.com/office/officeart/2005/8/layout/vList4"/>
    <dgm:cxn modelId="{81AE150A-E1FB-4EAD-B7C8-691AA97891B0}" type="presParOf" srcId="{3245D8A3-8E5E-4370-9560-7D50F08D1AAC}" destId="{83EBCC5F-57AF-408C-86D9-F0E2ACBBE12B}" srcOrd="7" destOrd="0" presId="urn:microsoft.com/office/officeart/2005/8/layout/vList4"/>
    <dgm:cxn modelId="{2CF45B34-36CE-4F53-BEE6-A1E5418315BF}" type="presParOf" srcId="{3245D8A3-8E5E-4370-9560-7D50F08D1AAC}" destId="{D671913D-787A-4165-BF27-FBE28E32140A}" srcOrd="8" destOrd="0" presId="urn:microsoft.com/office/officeart/2005/8/layout/vList4"/>
    <dgm:cxn modelId="{2F124BE6-24CF-4644-9DE3-00595F4EC23F}" type="presParOf" srcId="{D671913D-787A-4165-BF27-FBE28E32140A}" destId="{24F30434-915D-401A-842A-C3A44E75A979}" srcOrd="0" destOrd="0" presId="urn:microsoft.com/office/officeart/2005/8/layout/vList4"/>
    <dgm:cxn modelId="{277444A2-0AAA-44A6-AD51-B0CEA85F7373}" type="presParOf" srcId="{D671913D-787A-4165-BF27-FBE28E32140A}" destId="{950174B9-C3EC-407B-9908-DBD126F0CF41}" srcOrd="1" destOrd="0" presId="urn:microsoft.com/office/officeart/2005/8/layout/vList4"/>
    <dgm:cxn modelId="{85CA24B1-888A-44A2-ABEE-B45D28ABC074}" type="presParOf" srcId="{D671913D-787A-4165-BF27-FBE28E32140A}" destId="{BE359720-3DA6-45D3-B11C-BC16643AE4C6}" srcOrd="2" destOrd="0" presId="urn:microsoft.com/office/officeart/2005/8/layout/vList4"/>
    <dgm:cxn modelId="{D57A5367-B50D-4C1F-9BDA-67AEB7489A7E}" type="presParOf" srcId="{3245D8A3-8E5E-4370-9560-7D50F08D1AAC}" destId="{C92EF613-86C2-41A3-8E40-41CCD6533A25}" srcOrd="9" destOrd="0" presId="urn:microsoft.com/office/officeart/2005/8/layout/vList4"/>
    <dgm:cxn modelId="{8C22E6F5-ACE2-4967-BBE9-7C6DFE303036}" type="presParOf" srcId="{3245D8A3-8E5E-4370-9560-7D50F08D1AAC}" destId="{5501A42F-8519-4F4C-A382-D5698CC9EB98}" srcOrd="10" destOrd="0" presId="urn:microsoft.com/office/officeart/2005/8/layout/vList4"/>
    <dgm:cxn modelId="{FC40BD94-FEF9-4078-B70E-60D95683E243}" type="presParOf" srcId="{5501A42F-8519-4F4C-A382-D5698CC9EB98}" destId="{0451AC9A-80EA-4040-A601-D0B64C634769}" srcOrd="0" destOrd="0" presId="urn:microsoft.com/office/officeart/2005/8/layout/vList4"/>
    <dgm:cxn modelId="{F4C0E8EE-3C89-4C69-B9FC-7CB8C6E3D64E}" type="presParOf" srcId="{5501A42F-8519-4F4C-A382-D5698CC9EB98}" destId="{652C01DF-6697-4345-A0E8-6D9D71FC067D}" srcOrd="1" destOrd="0" presId="urn:microsoft.com/office/officeart/2005/8/layout/vList4"/>
    <dgm:cxn modelId="{723AF948-A621-4EE5-A4D2-F8F8448372E2}" type="presParOf" srcId="{5501A42F-8519-4F4C-A382-D5698CC9EB98}" destId="{FF945313-E4F2-443C-9640-F8236C883CA0}" srcOrd="2" destOrd="0" presId="urn:microsoft.com/office/officeart/2005/8/layout/vList4"/>
    <dgm:cxn modelId="{9F3E1BD8-6EC9-4B9A-9C99-DADF1EAC596F}" type="presParOf" srcId="{3245D8A3-8E5E-4370-9560-7D50F08D1AAC}" destId="{4ACE9022-A491-4746-BF11-8D981CC25E13}" srcOrd="11" destOrd="0" presId="urn:microsoft.com/office/officeart/2005/8/layout/vList4"/>
    <dgm:cxn modelId="{5BF7ED99-8F8B-4F51-87F6-502AB2CE44DF}" type="presParOf" srcId="{3245D8A3-8E5E-4370-9560-7D50F08D1AAC}" destId="{52FEB890-62E1-4FA0-BDD3-B9C9A73AC6EC}" srcOrd="12" destOrd="0" presId="urn:microsoft.com/office/officeart/2005/8/layout/vList4"/>
    <dgm:cxn modelId="{5279FA02-274F-45F9-AD13-037FF0115E35}" type="presParOf" srcId="{52FEB890-62E1-4FA0-BDD3-B9C9A73AC6EC}" destId="{5409D7A6-CC75-4C85-8991-EB5D7E28A32C}" srcOrd="0" destOrd="0" presId="urn:microsoft.com/office/officeart/2005/8/layout/vList4"/>
    <dgm:cxn modelId="{E43CFC97-B77A-4536-9D94-B20FF7158E48}" type="presParOf" srcId="{52FEB890-62E1-4FA0-BDD3-B9C9A73AC6EC}" destId="{3D67FE96-9C43-493B-A35A-BE8C89C56380}" srcOrd="1" destOrd="0" presId="urn:microsoft.com/office/officeart/2005/8/layout/vList4"/>
    <dgm:cxn modelId="{D38BCC78-B3C3-42C3-A0BE-43A6335196A6}" type="presParOf" srcId="{52FEB890-62E1-4FA0-BDD3-B9C9A73AC6EC}" destId="{AF33F1AF-16D3-496F-A982-1F3CBCF4FF8E}" srcOrd="2" destOrd="0" presId="urn:microsoft.com/office/officeart/2005/8/layout/vList4"/>
    <dgm:cxn modelId="{E792BFB3-AD8E-4630-9133-4D1C8F3AD824}" type="presParOf" srcId="{3245D8A3-8E5E-4370-9560-7D50F08D1AAC}" destId="{3F77CCF2-5A1B-4171-9950-5A4EA6297782}" srcOrd="13" destOrd="0" presId="urn:microsoft.com/office/officeart/2005/8/layout/vList4"/>
    <dgm:cxn modelId="{BF6FA6FC-3872-4B80-87B5-514C5D3C15FA}" type="presParOf" srcId="{3245D8A3-8E5E-4370-9560-7D50F08D1AAC}" destId="{1C6DEF61-7DE4-4DB2-88CF-A29B18B2A57B}" srcOrd="14" destOrd="0" presId="urn:microsoft.com/office/officeart/2005/8/layout/vList4"/>
    <dgm:cxn modelId="{F6E86536-1ABC-4D96-B00F-E7FF2BCC0400}" type="presParOf" srcId="{1C6DEF61-7DE4-4DB2-88CF-A29B18B2A57B}" destId="{0663B67C-F1DA-4AE8-B977-A72746B0B55A}" srcOrd="0" destOrd="0" presId="urn:microsoft.com/office/officeart/2005/8/layout/vList4"/>
    <dgm:cxn modelId="{25F23B03-2F10-40F1-B93C-D06EDA6D6A21}" type="presParOf" srcId="{1C6DEF61-7DE4-4DB2-88CF-A29B18B2A57B}" destId="{2B57F23D-5CBE-4272-A6F4-7FAA825DD5F1}" srcOrd="1" destOrd="0" presId="urn:microsoft.com/office/officeart/2005/8/layout/vList4"/>
    <dgm:cxn modelId="{447162C0-2096-4D68-8833-5CE1E17BEE9B}" type="presParOf" srcId="{1C6DEF61-7DE4-4DB2-88CF-A29B18B2A57B}" destId="{DD756981-072A-4F78-ABC7-E2A848633815}" srcOrd="2" destOrd="0" presId="urn:microsoft.com/office/officeart/2005/8/layout/vList4"/>
    <dgm:cxn modelId="{B45CB449-12A8-45AE-82D5-76E7B9A38DED}" type="presParOf" srcId="{3245D8A3-8E5E-4370-9560-7D50F08D1AAC}" destId="{E0FA4780-42E5-4D96-9EA9-AFC90BAEB194}" srcOrd="15" destOrd="0" presId="urn:microsoft.com/office/officeart/2005/8/layout/vList4"/>
    <dgm:cxn modelId="{7F2AA951-DA41-41C3-B26B-561614B1E165}" type="presParOf" srcId="{3245D8A3-8E5E-4370-9560-7D50F08D1AAC}" destId="{F5029F3B-CDB2-44B7-954A-4E4749636DCA}" srcOrd="16" destOrd="0" presId="urn:microsoft.com/office/officeart/2005/8/layout/vList4"/>
    <dgm:cxn modelId="{07E83D3D-7D4D-41FF-BDCF-BAA907F16BCC}" type="presParOf" srcId="{F5029F3B-CDB2-44B7-954A-4E4749636DCA}" destId="{A07D94F9-EF30-4E20-8074-E413B239BE21}" srcOrd="0" destOrd="0" presId="urn:microsoft.com/office/officeart/2005/8/layout/vList4"/>
    <dgm:cxn modelId="{BBD1C076-4AA0-4062-AF6E-0BFFC9882661}" type="presParOf" srcId="{F5029F3B-CDB2-44B7-954A-4E4749636DCA}" destId="{345EE191-2927-4C04-BBA1-919BF1F7941C}" srcOrd="1" destOrd="0" presId="urn:microsoft.com/office/officeart/2005/8/layout/vList4"/>
    <dgm:cxn modelId="{C4475822-75A5-4EE6-A6C9-67F017646310}" type="presParOf" srcId="{F5029F3B-CDB2-44B7-954A-4E4749636DCA}" destId="{C195AAFC-E8BF-40C9-B2F5-85621CF3B988}" srcOrd="2" destOrd="0" presId="urn:microsoft.com/office/officeart/2005/8/layout/vList4"/>
    <dgm:cxn modelId="{A1118350-863B-43C9-A6FA-E4B512B703DC}" type="presParOf" srcId="{3245D8A3-8E5E-4370-9560-7D50F08D1AAC}" destId="{D0A85CFD-6D98-4CF0-8A55-F4BCC6FC3771}" srcOrd="17" destOrd="0" presId="urn:microsoft.com/office/officeart/2005/8/layout/vList4"/>
    <dgm:cxn modelId="{E9155745-59CC-487F-8C93-AA3AA44B26A5}" type="presParOf" srcId="{3245D8A3-8E5E-4370-9560-7D50F08D1AAC}" destId="{94C32681-5B23-4625-9591-31D5A6915637}" srcOrd="18" destOrd="0" presId="urn:microsoft.com/office/officeart/2005/8/layout/vList4"/>
    <dgm:cxn modelId="{31DD0128-CAB2-426D-8438-E4DC98CC0201}" type="presParOf" srcId="{94C32681-5B23-4625-9591-31D5A6915637}" destId="{21FD6BEC-2BE4-4D3B-9A53-4987D8EC21AC}" srcOrd="0" destOrd="0" presId="urn:microsoft.com/office/officeart/2005/8/layout/vList4"/>
    <dgm:cxn modelId="{8B59C2AA-3F8B-413B-87DF-F514CDE42C4A}" type="presParOf" srcId="{94C32681-5B23-4625-9591-31D5A6915637}" destId="{D2F6CFBC-E310-4008-BC7E-CB6B12D9A319}" srcOrd="1" destOrd="0" presId="urn:microsoft.com/office/officeart/2005/8/layout/vList4"/>
    <dgm:cxn modelId="{23D20066-96D5-4A12-A64B-2DE7B7E22A38}" type="presParOf" srcId="{94C32681-5B23-4625-9591-31D5A6915637}" destId="{98518E50-33B5-489D-8AF9-BC11CE515B19}" srcOrd="2" destOrd="0" presId="urn:microsoft.com/office/officeart/2005/8/layout/vList4"/>
    <dgm:cxn modelId="{EDF08B85-D904-4A33-87A9-06786BD039CA}" type="presParOf" srcId="{3245D8A3-8E5E-4370-9560-7D50F08D1AAC}" destId="{80A128C3-D91C-4A8E-897E-BE277EDC32F6}" srcOrd="19" destOrd="0" presId="urn:microsoft.com/office/officeart/2005/8/layout/vList4"/>
    <dgm:cxn modelId="{BED1A218-BA9F-43F4-A577-F4DE1652BB0E}" type="presParOf" srcId="{3245D8A3-8E5E-4370-9560-7D50F08D1AAC}" destId="{1B86AED6-E9C3-474C-A1B9-5352341B06AF}" srcOrd="20" destOrd="0" presId="urn:microsoft.com/office/officeart/2005/8/layout/vList4"/>
    <dgm:cxn modelId="{EF68284E-F7F1-496F-BD7B-168F39C52ADB}" type="presParOf" srcId="{1B86AED6-E9C3-474C-A1B9-5352341B06AF}" destId="{19D75B96-0BDF-4D45-9CDA-670E68961379}" srcOrd="0" destOrd="0" presId="urn:microsoft.com/office/officeart/2005/8/layout/vList4"/>
    <dgm:cxn modelId="{EDB9E11D-310F-454B-9F21-311C32F5A495}" type="presParOf" srcId="{1B86AED6-E9C3-474C-A1B9-5352341B06AF}" destId="{B2B9AF7E-0611-4D90-B154-64C9BDFC0B76}" srcOrd="1" destOrd="0" presId="urn:microsoft.com/office/officeart/2005/8/layout/vList4"/>
    <dgm:cxn modelId="{A380D878-7A48-468D-9945-0C173183FD1A}" type="presParOf" srcId="{1B86AED6-E9C3-474C-A1B9-5352341B06AF}" destId="{19010068-538E-4E7A-921F-CCE3278EC84F}"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5649888" y="-1245712"/>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Define Objectives</a:t>
          </a:r>
        </a:p>
        <a:p>
          <a:pPr marL="228600" lvl="1" indent="-228600" algn="l" defTabSz="889000">
            <a:lnSpc>
              <a:spcPct val="90000"/>
            </a:lnSpc>
            <a:spcBef>
              <a:spcPct val="0"/>
            </a:spcBef>
            <a:spcAft>
              <a:spcPct val="15000"/>
            </a:spcAft>
            <a:buChar char="•"/>
          </a:pPr>
          <a:r>
            <a:rPr lang="en-US" sz="2000" kern="1200" dirty="0">
              <a:latin typeface="+mj-lt"/>
            </a:rPr>
            <a:t>Identify Data Sources</a:t>
          </a:r>
        </a:p>
      </dsp:txBody>
      <dsp:txXfrm rot="-5400000">
        <a:off x="4275636" y="177616"/>
        <a:ext cx="3704749" cy="907169"/>
      </dsp:txXfrm>
    </dsp:sp>
    <dsp:sp modelId="{FCE31E78-3DAC-4692-A464-D0C835B3F5C0}">
      <dsp:nvSpPr>
        <dsp:cNvPr id="0" name=""/>
        <dsp:cNvSpPr/>
      </dsp:nvSpPr>
      <dsp:spPr>
        <a:xfrm>
          <a:off x="111" y="2874"/>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Business Understanding</a:t>
          </a:r>
        </a:p>
      </dsp:txBody>
      <dsp:txXfrm>
        <a:off x="61456" y="64219"/>
        <a:ext cx="4152834" cy="1133961"/>
      </dsp:txXfrm>
    </dsp:sp>
    <dsp:sp modelId="{B35FD520-5FF0-41BD-887C-8B0911FFCB12}">
      <dsp:nvSpPr>
        <dsp:cNvPr id="0" name=""/>
        <dsp:cNvSpPr/>
      </dsp:nvSpPr>
      <dsp:spPr>
        <a:xfrm rot="5400000">
          <a:off x="5649888" y="73771"/>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Ingest Data</a:t>
          </a:r>
        </a:p>
        <a:p>
          <a:pPr marL="228600" lvl="1" indent="-228600" algn="l" defTabSz="889000">
            <a:lnSpc>
              <a:spcPct val="90000"/>
            </a:lnSpc>
            <a:spcBef>
              <a:spcPct val="0"/>
            </a:spcBef>
            <a:spcAft>
              <a:spcPct val="15000"/>
            </a:spcAft>
            <a:buChar char="•"/>
          </a:pPr>
          <a:r>
            <a:rPr lang="en-US" sz="2000" kern="1200" dirty="0">
              <a:latin typeface="+mj-lt"/>
            </a:rPr>
            <a:t>Explore Data</a:t>
          </a:r>
        </a:p>
        <a:p>
          <a:pPr marL="228600" lvl="1" indent="-228600" algn="l" defTabSz="889000">
            <a:lnSpc>
              <a:spcPct val="90000"/>
            </a:lnSpc>
            <a:spcBef>
              <a:spcPct val="0"/>
            </a:spcBef>
            <a:spcAft>
              <a:spcPct val="15000"/>
            </a:spcAft>
            <a:buChar char="•"/>
          </a:pPr>
          <a:r>
            <a:rPr lang="en-US" sz="2000" kern="1200" dirty="0">
              <a:latin typeface="+mj-lt"/>
            </a:rPr>
            <a:t>Update Data</a:t>
          </a:r>
        </a:p>
      </dsp:txBody>
      <dsp:txXfrm rot="-5400000">
        <a:off x="4275636" y="1497099"/>
        <a:ext cx="3704749" cy="907169"/>
      </dsp:txXfrm>
    </dsp:sp>
    <dsp:sp modelId="{3E606814-09D9-4B4C-8F40-66F312978EEB}">
      <dsp:nvSpPr>
        <dsp:cNvPr id="0" name=""/>
        <dsp:cNvSpPr/>
      </dsp:nvSpPr>
      <dsp:spPr>
        <a:xfrm>
          <a:off x="111" y="1322358"/>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Data Acquisition and Understanding</a:t>
          </a:r>
        </a:p>
      </dsp:txBody>
      <dsp:txXfrm>
        <a:off x="61456" y="1383703"/>
        <a:ext cx="4152834" cy="1133961"/>
      </dsp:txXfrm>
    </dsp:sp>
    <dsp:sp modelId="{EF322D6C-1CB6-431F-8B42-A64D898D2824}">
      <dsp:nvSpPr>
        <dsp:cNvPr id="0" name=""/>
        <dsp:cNvSpPr/>
      </dsp:nvSpPr>
      <dsp:spPr>
        <a:xfrm rot="5400000">
          <a:off x="5649888" y="1393255"/>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Feature Selection</a:t>
          </a:r>
        </a:p>
        <a:p>
          <a:pPr marL="228600" lvl="1" indent="-228600" algn="l" defTabSz="889000">
            <a:lnSpc>
              <a:spcPct val="90000"/>
            </a:lnSpc>
            <a:spcBef>
              <a:spcPct val="0"/>
            </a:spcBef>
            <a:spcAft>
              <a:spcPct val="15000"/>
            </a:spcAft>
            <a:buChar char="•"/>
          </a:pPr>
          <a:r>
            <a:rPr lang="en-US" sz="2000" kern="1200" dirty="0">
              <a:latin typeface="+mj-lt"/>
            </a:rPr>
            <a:t>Create and Train Model</a:t>
          </a:r>
        </a:p>
      </dsp:txBody>
      <dsp:txXfrm rot="-5400000">
        <a:off x="4275636" y="2816583"/>
        <a:ext cx="3704749" cy="907169"/>
      </dsp:txXfrm>
    </dsp:sp>
    <dsp:sp modelId="{D8CBC06D-2193-488F-8EDE-5FAA991E0B6B}">
      <dsp:nvSpPr>
        <dsp:cNvPr id="0" name=""/>
        <dsp:cNvSpPr/>
      </dsp:nvSpPr>
      <dsp:spPr>
        <a:xfrm>
          <a:off x="111" y="2641842"/>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Modeling</a:t>
          </a:r>
        </a:p>
      </dsp:txBody>
      <dsp:txXfrm>
        <a:off x="61456" y="2703187"/>
        <a:ext cx="4152834" cy="1133961"/>
      </dsp:txXfrm>
    </dsp:sp>
    <dsp:sp modelId="{DE1FE771-1582-4775-9E8F-B758D933162D}">
      <dsp:nvSpPr>
        <dsp:cNvPr id="0" name=""/>
        <dsp:cNvSpPr/>
      </dsp:nvSpPr>
      <dsp:spPr>
        <a:xfrm rot="5400000">
          <a:off x="5649888" y="2712739"/>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Operationalize</a:t>
          </a:r>
        </a:p>
      </dsp:txBody>
      <dsp:txXfrm rot="-5400000">
        <a:off x="4275636" y="4136067"/>
        <a:ext cx="3704749" cy="907169"/>
      </dsp:txXfrm>
    </dsp:sp>
    <dsp:sp modelId="{C971C0CD-D6D6-4BD2-B517-483DD2B85EA0}">
      <dsp:nvSpPr>
        <dsp:cNvPr id="0" name=""/>
        <dsp:cNvSpPr/>
      </dsp:nvSpPr>
      <dsp:spPr>
        <a:xfrm>
          <a:off x="111" y="3961326"/>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Deployment</a:t>
          </a:r>
        </a:p>
      </dsp:txBody>
      <dsp:txXfrm>
        <a:off x="61456" y="4022671"/>
        <a:ext cx="4152834" cy="1133961"/>
      </dsp:txXfrm>
    </dsp:sp>
    <dsp:sp modelId="{E36319A3-4DDD-4596-A48B-3AFC2FB82E08}">
      <dsp:nvSpPr>
        <dsp:cNvPr id="0" name=""/>
        <dsp:cNvSpPr/>
      </dsp:nvSpPr>
      <dsp:spPr>
        <a:xfrm rot="5400000">
          <a:off x="5649888" y="4032223"/>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Testing and Validation</a:t>
          </a:r>
        </a:p>
        <a:p>
          <a:pPr marL="228600" lvl="1" indent="-228600" algn="l" defTabSz="889000">
            <a:lnSpc>
              <a:spcPct val="90000"/>
            </a:lnSpc>
            <a:spcBef>
              <a:spcPct val="0"/>
            </a:spcBef>
            <a:spcAft>
              <a:spcPct val="15000"/>
            </a:spcAft>
            <a:buChar char="•"/>
          </a:pPr>
          <a:r>
            <a:rPr lang="en-US" sz="2000" kern="1200" dirty="0">
              <a:latin typeface="+mj-lt"/>
            </a:rPr>
            <a:t>Handoff</a:t>
          </a:r>
        </a:p>
        <a:p>
          <a:pPr marL="228600" lvl="1" indent="-228600" algn="l" defTabSz="889000">
            <a:lnSpc>
              <a:spcPct val="90000"/>
            </a:lnSpc>
            <a:spcBef>
              <a:spcPct val="0"/>
            </a:spcBef>
            <a:spcAft>
              <a:spcPct val="15000"/>
            </a:spcAft>
            <a:buChar char="•"/>
          </a:pPr>
          <a:r>
            <a:rPr lang="en-US" sz="2000" kern="1200" dirty="0">
              <a:latin typeface="+mj-lt"/>
            </a:rPr>
            <a:t>Re-train and re-score</a:t>
          </a:r>
        </a:p>
      </dsp:txBody>
      <dsp:txXfrm rot="-5400000">
        <a:off x="4275636" y="5455551"/>
        <a:ext cx="3704749" cy="907169"/>
      </dsp:txXfrm>
    </dsp:sp>
    <dsp:sp modelId="{C5DBDEB5-64EF-486D-ADE8-9AD2774135B2}">
      <dsp:nvSpPr>
        <dsp:cNvPr id="0" name=""/>
        <dsp:cNvSpPr/>
      </dsp:nvSpPr>
      <dsp:spPr>
        <a:xfrm>
          <a:off x="111" y="5280810"/>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Customer Acceptance</a:t>
          </a:r>
        </a:p>
      </dsp:txBody>
      <dsp:txXfrm>
        <a:off x="61456" y="5342155"/>
        <a:ext cx="4152834" cy="113396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C1AABC-2A80-4D18-AB70-CD76795B5F08}">
      <dsp:nvSpPr>
        <dsp:cNvPr id="0" name=""/>
        <dsp:cNvSpPr/>
      </dsp:nvSpPr>
      <dsp:spPr>
        <a:xfrm>
          <a:off x="0" y="0"/>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Cortana, Cognitive Services, Bot Framework</a:t>
          </a:r>
        </a:p>
      </dsp:txBody>
      <dsp:txXfrm>
        <a:off x="1675952" y="0"/>
        <a:ext cx="6425008" cy="557603"/>
      </dsp:txXfrm>
    </dsp:sp>
    <dsp:sp modelId="{36A321AB-B414-459A-92C0-C559ED15EF30}">
      <dsp:nvSpPr>
        <dsp:cNvPr id="0" name=""/>
        <dsp:cNvSpPr/>
      </dsp:nvSpPr>
      <dsp:spPr>
        <a:xfrm>
          <a:off x="46598" y="53364"/>
          <a:ext cx="974626" cy="446083"/>
        </a:xfrm>
        <a:prstGeom prst="roundRect">
          <a:avLst>
            <a:gd name="adj" fmla="val 10000"/>
          </a:avLst>
        </a:prstGeom>
        <a:blipFill rotWithShape="1">
          <a:blip xmlns:r="http://schemas.openxmlformats.org/officeDocument/2006/relationships" r:embed="rId1"/>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2FDBD55-6070-4E85-AA3A-6F7522DCF49F}">
      <dsp:nvSpPr>
        <dsp:cNvPr id="0" name=""/>
        <dsp:cNvSpPr/>
      </dsp:nvSpPr>
      <dsp:spPr>
        <a:xfrm>
          <a:off x="0" y="613364"/>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Power BI</a:t>
          </a:r>
        </a:p>
      </dsp:txBody>
      <dsp:txXfrm>
        <a:off x="1675952" y="613364"/>
        <a:ext cx="6425008" cy="557603"/>
      </dsp:txXfrm>
    </dsp:sp>
    <dsp:sp modelId="{49D4FFC3-C990-4FEA-ADFC-9F2B001FE866}">
      <dsp:nvSpPr>
        <dsp:cNvPr id="0" name=""/>
        <dsp:cNvSpPr/>
      </dsp:nvSpPr>
      <dsp:spPr>
        <a:xfrm>
          <a:off x="46598" y="666729"/>
          <a:ext cx="974626" cy="446083"/>
        </a:xfrm>
        <a:prstGeom prst="roundRect">
          <a:avLst>
            <a:gd name="adj" fmla="val 10000"/>
          </a:avLst>
        </a:prstGeom>
        <a:blipFill rotWithShape="1">
          <a:blip xmlns:r="http://schemas.openxmlformats.org/officeDocument/2006/relationships" r:embed="rId2"/>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3A218B0-FF83-4B81-B386-3F5787FB84AE}">
      <dsp:nvSpPr>
        <dsp:cNvPr id="0" name=""/>
        <dsp:cNvSpPr/>
      </dsp:nvSpPr>
      <dsp:spPr>
        <a:xfrm>
          <a:off x="0" y="1226728"/>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Stream Analytics</a:t>
          </a:r>
        </a:p>
      </dsp:txBody>
      <dsp:txXfrm>
        <a:off x="1675952" y="1226728"/>
        <a:ext cx="6425008" cy="557603"/>
      </dsp:txXfrm>
    </dsp:sp>
    <dsp:sp modelId="{1DF032E0-13E8-404C-A3CD-F57FFFAF656E}">
      <dsp:nvSpPr>
        <dsp:cNvPr id="0" name=""/>
        <dsp:cNvSpPr/>
      </dsp:nvSpPr>
      <dsp:spPr>
        <a:xfrm>
          <a:off x="46598" y="1280093"/>
          <a:ext cx="974626" cy="446083"/>
        </a:xfrm>
        <a:prstGeom prst="roundRect">
          <a:avLst>
            <a:gd name="adj" fmla="val 10000"/>
          </a:avLst>
        </a:prstGeom>
        <a:blipFill rotWithShape="1">
          <a:blip xmlns:r="http://schemas.openxmlformats.org/officeDocument/2006/relationships" r:embed="rId3"/>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B74900C-2DC2-4F9C-83EA-B674B8C455C3}">
      <dsp:nvSpPr>
        <dsp:cNvPr id="0" name=""/>
        <dsp:cNvSpPr/>
      </dsp:nvSpPr>
      <dsp:spPr>
        <a:xfrm>
          <a:off x="0" y="1840092"/>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HDInsight</a:t>
          </a:r>
        </a:p>
      </dsp:txBody>
      <dsp:txXfrm>
        <a:off x="1675952" y="1840092"/>
        <a:ext cx="6425008" cy="557603"/>
      </dsp:txXfrm>
    </dsp:sp>
    <dsp:sp modelId="{EB1CC876-66DD-4A75-B47F-79507A427898}">
      <dsp:nvSpPr>
        <dsp:cNvPr id="0" name=""/>
        <dsp:cNvSpPr/>
      </dsp:nvSpPr>
      <dsp:spPr>
        <a:xfrm>
          <a:off x="46598" y="1893457"/>
          <a:ext cx="974626" cy="446083"/>
        </a:xfrm>
        <a:prstGeom prst="roundRect">
          <a:avLst>
            <a:gd name="adj" fmla="val 10000"/>
          </a:avLst>
        </a:prstGeom>
        <a:blipFill rotWithShape="1">
          <a:blip xmlns:r="http://schemas.openxmlformats.org/officeDocument/2006/relationships" r:embed="rId4"/>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4F30434-915D-401A-842A-C3A44E75A979}">
      <dsp:nvSpPr>
        <dsp:cNvPr id="0" name=""/>
        <dsp:cNvSpPr/>
      </dsp:nvSpPr>
      <dsp:spPr>
        <a:xfrm>
          <a:off x="0" y="2453456"/>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Azure Machine Learning (MRS)</a:t>
          </a:r>
        </a:p>
      </dsp:txBody>
      <dsp:txXfrm>
        <a:off x="1675952" y="2453456"/>
        <a:ext cx="6425008" cy="557603"/>
      </dsp:txXfrm>
    </dsp:sp>
    <dsp:sp modelId="{950174B9-C3EC-407B-9908-DBD126F0CF41}">
      <dsp:nvSpPr>
        <dsp:cNvPr id="0" name=""/>
        <dsp:cNvSpPr/>
      </dsp:nvSpPr>
      <dsp:spPr>
        <a:xfrm>
          <a:off x="46598" y="2506821"/>
          <a:ext cx="974626" cy="446083"/>
        </a:xfrm>
        <a:prstGeom prst="roundRect">
          <a:avLst>
            <a:gd name="adj" fmla="val 10000"/>
          </a:avLst>
        </a:prstGeom>
        <a:blipFill rotWithShape="1">
          <a:blip xmlns:r="http://schemas.openxmlformats.org/officeDocument/2006/relationships" r:embed="rId5"/>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451AC9A-80EA-4040-A601-D0B64C634769}">
      <dsp:nvSpPr>
        <dsp:cNvPr id="0" name=""/>
        <dsp:cNvSpPr/>
      </dsp:nvSpPr>
      <dsp:spPr>
        <a:xfrm>
          <a:off x="0" y="3066821"/>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SQL Data Warehouse (SQL DB, Document DB)</a:t>
          </a:r>
        </a:p>
      </dsp:txBody>
      <dsp:txXfrm>
        <a:off x="1675952" y="3066821"/>
        <a:ext cx="6425008" cy="557603"/>
      </dsp:txXfrm>
    </dsp:sp>
    <dsp:sp modelId="{652C01DF-6697-4345-A0E8-6D9D71FC067D}">
      <dsp:nvSpPr>
        <dsp:cNvPr id="0" name=""/>
        <dsp:cNvSpPr/>
      </dsp:nvSpPr>
      <dsp:spPr>
        <a:xfrm>
          <a:off x="46598" y="3120186"/>
          <a:ext cx="974626" cy="446083"/>
        </a:xfrm>
        <a:prstGeom prst="roundRect">
          <a:avLst>
            <a:gd name="adj" fmla="val 10000"/>
          </a:avLst>
        </a:prstGeom>
        <a:blipFill rotWithShape="1">
          <a:blip xmlns:r="http://schemas.openxmlformats.org/officeDocument/2006/relationships" r:embed="rId6"/>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409D7A6-CC75-4C85-8991-EB5D7E28A32C}">
      <dsp:nvSpPr>
        <dsp:cNvPr id="0" name=""/>
        <dsp:cNvSpPr/>
      </dsp:nvSpPr>
      <dsp:spPr>
        <a:xfrm>
          <a:off x="0" y="3680185"/>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Lake</a:t>
          </a:r>
        </a:p>
      </dsp:txBody>
      <dsp:txXfrm>
        <a:off x="1675952" y="3680185"/>
        <a:ext cx="6425008" cy="557603"/>
      </dsp:txXfrm>
    </dsp:sp>
    <dsp:sp modelId="{3D67FE96-9C43-493B-A35A-BE8C89C56380}">
      <dsp:nvSpPr>
        <dsp:cNvPr id="0" name=""/>
        <dsp:cNvSpPr/>
      </dsp:nvSpPr>
      <dsp:spPr>
        <a:xfrm>
          <a:off x="56319" y="3723834"/>
          <a:ext cx="974626" cy="446083"/>
        </a:xfrm>
        <a:prstGeom prst="roundRect">
          <a:avLst>
            <a:gd name="adj" fmla="val 10000"/>
          </a:avLst>
        </a:prstGeom>
        <a:blipFill rotWithShape="1">
          <a:blip xmlns:r="http://schemas.openxmlformats.org/officeDocument/2006/relationships" r:embed="rId7"/>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663B67C-F1DA-4AE8-B977-A72746B0B55A}">
      <dsp:nvSpPr>
        <dsp:cNvPr id="0" name=""/>
        <dsp:cNvSpPr/>
      </dsp:nvSpPr>
      <dsp:spPr>
        <a:xfrm>
          <a:off x="0" y="4293549"/>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Event Hubs</a:t>
          </a:r>
        </a:p>
      </dsp:txBody>
      <dsp:txXfrm>
        <a:off x="1675952" y="4293549"/>
        <a:ext cx="6425008" cy="557603"/>
      </dsp:txXfrm>
    </dsp:sp>
    <dsp:sp modelId="{2B57F23D-5CBE-4272-A6F4-7FAA825DD5F1}">
      <dsp:nvSpPr>
        <dsp:cNvPr id="0" name=""/>
        <dsp:cNvSpPr/>
      </dsp:nvSpPr>
      <dsp:spPr>
        <a:xfrm>
          <a:off x="46598" y="4337198"/>
          <a:ext cx="974626" cy="446083"/>
        </a:xfrm>
        <a:prstGeom prst="roundRect">
          <a:avLst>
            <a:gd name="adj" fmla="val 10000"/>
          </a:avLst>
        </a:prstGeom>
        <a:blipFill rotWithShape="1">
          <a:blip xmlns:r="http://schemas.openxmlformats.org/officeDocument/2006/relationships" r:embed="rId8"/>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07D94F9-EF30-4E20-8074-E413B239BE21}">
      <dsp:nvSpPr>
        <dsp:cNvPr id="0" name=""/>
        <dsp:cNvSpPr/>
      </dsp:nvSpPr>
      <dsp:spPr>
        <a:xfrm>
          <a:off x="0" y="4906913"/>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Factory</a:t>
          </a:r>
        </a:p>
      </dsp:txBody>
      <dsp:txXfrm>
        <a:off x="1675952" y="4906913"/>
        <a:ext cx="6425008" cy="557603"/>
      </dsp:txXfrm>
    </dsp:sp>
    <dsp:sp modelId="{345EE191-2927-4C04-BBA1-919BF1F7941C}">
      <dsp:nvSpPr>
        <dsp:cNvPr id="0" name=""/>
        <dsp:cNvSpPr/>
      </dsp:nvSpPr>
      <dsp:spPr>
        <a:xfrm>
          <a:off x="46598" y="4960278"/>
          <a:ext cx="974626" cy="446083"/>
        </a:xfrm>
        <a:prstGeom prst="roundRect">
          <a:avLst>
            <a:gd name="adj" fmla="val 10000"/>
          </a:avLst>
        </a:prstGeom>
        <a:blipFill rotWithShape="1">
          <a:blip xmlns:r="http://schemas.openxmlformats.org/officeDocument/2006/relationships" r:embed="rId9"/>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FD6BEC-2BE4-4D3B-9A53-4987D8EC21AC}">
      <dsp:nvSpPr>
        <dsp:cNvPr id="0" name=""/>
        <dsp:cNvSpPr/>
      </dsp:nvSpPr>
      <dsp:spPr>
        <a:xfrm>
          <a:off x="0" y="5520278"/>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Catalog</a:t>
          </a:r>
        </a:p>
      </dsp:txBody>
      <dsp:txXfrm>
        <a:off x="1675952" y="5520278"/>
        <a:ext cx="6425008" cy="557603"/>
      </dsp:txXfrm>
    </dsp:sp>
    <dsp:sp modelId="{D2F6CFBC-E310-4008-BC7E-CB6B12D9A319}">
      <dsp:nvSpPr>
        <dsp:cNvPr id="0" name=""/>
        <dsp:cNvSpPr/>
      </dsp:nvSpPr>
      <dsp:spPr>
        <a:xfrm>
          <a:off x="46598" y="5573643"/>
          <a:ext cx="974626" cy="446083"/>
        </a:xfrm>
        <a:prstGeom prst="roundRect">
          <a:avLst>
            <a:gd name="adj" fmla="val 10000"/>
          </a:avLst>
        </a:prstGeom>
        <a:blipFill rotWithShape="1">
          <a:blip xmlns:r="http://schemas.openxmlformats.org/officeDocument/2006/relationships" r:embed="rId10"/>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9D75B96-0BDF-4D45-9CDA-670E68961379}">
      <dsp:nvSpPr>
        <dsp:cNvPr id="0" name=""/>
        <dsp:cNvSpPr/>
      </dsp:nvSpPr>
      <dsp:spPr>
        <a:xfrm>
          <a:off x="0" y="6133642"/>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Microsoft Azure</a:t>
          </a:r>
        </a:p>
      </dsp:txBody>
      <dsp:txXfrm>
        <a:off x="1675952" y="6133642"/>
        <a:ext cx="6425008" cy="557603"/>
      </dsp:txXfrm>
    </dsp:sp>
    <dsp:sp modelId="{B2B9AF7E-0611-4D90-B154-64C9BDFC0B76}">
      <dsp:nvSpPr>
        <dsp:cNvPr id="0" name=""/>
        <dsp:cNvSpPr/>
      </dsp:nvSpPr>
      <dsp:spPr>
        <a:xfrm>
          <a:off x="46598" y="6187007"/>
          <a:ext cx="974626" cy="446083"/>
        </a:xfrm>
        <a:prstGeom prst="roundRect">
          <a:avLst>
            <a:gd name="adj" fmla="val 10000"/>
          </a:avLst>
        </a:prstGeom>
        <a:blipFill rotWithShape="1">
          <a:blip xmlns:r="http://schemas.openxmlformats.org/officeDocument/2006/relationships" r:embed="rId11"/>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3/28/2017 5:58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381000" y="4321432"/>
            <a:ext cx="6096000" cy="413676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pic>
        <p:nvPicPr>
          <p:cNvPr id="2" name="Picture 1"/>
          <p:cNvPicPr>
            <a:picLocks noChangeAspect="1"/>
          </p:cNvPicPr>
          <p:nvPr/>
        </p:nvPicPr>
        <p:blipFill>
          <a:blip r:embed="rId2"/>
          <a:stretch>
            <a:fillRect/>
          </a:stretch>
        </p:blipFill>
        <p:spPr>
          <a:xfrm>
            <a:off x="381000" y="187552"/>
            <a:ext cx="1926660" cy="243112"/>
          </a:xfrm>
          <a:prstGeom prst="rect">
            <a:avLst/>
          </a:prstGeom>
        </p:spPr>
      </p:pic>
      <p:sp>
        <p:nvSpPr>
          <p:cNvPr id="3" name="Rectangle 2"/>
          <p:cNvSpPr/>
          <p:nvPr/>
        </p:nvSpPr>
        <p:spPr>
          <a:xfrm>
            <a:off x="2566930" y="202169"/>
            <a:ext cx="3910070" cy="276999"/>
          </a:xfrm>
          <a:prstGeom prst="rect">
            <a:avLst/>
          </a:prstGeom>
        </p:spPr>
        <p:txBody>
          <a:bodyPr wrap="square">
            <a:spAutoFit/>
          </a:bodyPr>
          <a:lstStyle/>
          <a:p>
            <a:pPr algn="r"/>
            <a:r>
              <a:rPr lang="en-US" sz="1200" b="1" dirty="0">
                <a:solidFill>
                  <a:schemeClr val="accent6">
                    <a:lumMod val="75000"/>
                  </a:schemeClr>
                </a:solidFill>
                <a:effectLst/>
                <a:latin typeface="Calibri" panose="020F0502020204030204" pitchFamily="34" charset="0"/>
                <a:ea typeface="SimSun" panose="02010600030101010101" pitchFamily="2" charset="-122"/>
                <a:cs typeface="Arial" panose="020B0604020202020204" pitchFamily="34" charset="0"/>
              </a:rPr>
              <a:t>Cortana Intelligence Suite Workshop Class Notebook</a:t>
            </a:r>
            <a:endParaRPr lang="en-US" sz="2800" b="1" dirty="0">
              <a:solidFill>
                <a:schemeClr val="accent6">
                  <a:lumMod val="75000"/>
                </a:schemeClr>
              </a:solidFill>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18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cortanaanalytics.com/"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8" Type="http://schemas.openxmlformats.org/officeDocument/2006/relationships/hyperlink" Target="https://azure.microsoft.com/en-us/documentation/learning-paths/hdinsight-self-guided-hadoop-training/" TargetMode="External"/><Relationship Id="rId3" Type="http://schemas.openxmlformats.org/officeDocument/2006/relationships/hyperlink" Target="https://azure.microsoft.com/en-us/services/hdinsight/" TargetMode="External"/><Relationship Id="rId7" Type="http://schemas.openxmlformats.org/officeDocument/2006/relationships/hyperlink" Target="https://mva.microsoft.com/en-US/training-courses/big-data-analytics-with-hdinsight-hadoop-on-azure-10551?l=UJ7MAv97_5804984382" TargetMode="External"/><Relationship Id="rId2" Type="http://schemas.openxmlformats.org/officeDocument/2006/relationships/slide" Target="../slides/slide10.xml"/><Relationship Id="rId1" Type="http://schemas.openxmlformats.org/officeDocument/2006/relationships/notesMaster" Target="../notesMasters/notesMaster1.xml"/><Relationship Id="rId6" Type="http://schemas.openxmlformats.org/officeDocument/2006/relationships/hyperlink" Target="https://channel9.msdn.com/Series/Getting-started-with-Windows-Azure-HDInsight-Service/Introduction-To-Windows-Azure-HDInsight-Service" TargetMode="External"/><Relationship Id="rId5" Type="http://schemas.openxmlformats.org/officeDocument/2006/relationships/hyperlink" Target="https://www.edx.org/course/processing-big-data-azure-hdinsight-microsoft-dat202-1x" TargetMode="External"/><Relationship Id="rId4" Type="http://schemas.openxmlformats.org/officeDocument/2006/relationships/hyperlink" Target="https://azure.microsoft.com/en-us/documentation/articles/hdinsight-hadoop-introduction/" TargetMode="External"/><Relationship Id="rId9" Type="http://schemas.openxmlformats.org/officeDocument/2006/relationships/hyperlink" Target="https://msdn.microsoft.com/en-us/library/mt146770(v=sql.130).aspx" TargetMode="Externa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azure.microsoft.com/en-us/documentation/articles/hdinsight-hadoop-introduction/" TargetMode="External"/><Relationship Id="rId2" Type="http://schemas.openxmlformats.org/officeDocument/2006/relationships/slide" Target="../slides/slide11.xml"/><Relationship Id="rId1" Type="http://schemas.openxmlformats.org/officeDocument/2006/relationships/notesMaster" Target="../notesMasters/notesMaster1.xml"/><Relationship Id="rId4" Type="http://schemas.openxmlformats.org/officeDocument/2006/relationships/hyperlink" Target="http://hadoop.apache.org/" TargetMode="Externa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hortonworks.com/hadoop-tutorial/hello-world-an-introduction-to-hadoop-hcatalog-hive-and-pig/" TargetMode="External"/><Relationship Id="rId2" Type="http://schemas.openxmlformats.org/officeDocument/2006/relationships/slide" Target="../slides/slide12.xml"/><Relationship Id="rId1" Type="http://schemas.openxmlformats.org/officeDocument/2006/relationships/notesMaster" Target="../notesMasters/notesMaster1.xml"/><Relationship Id="rId4" Type="http://schemas.openxmlformats.org/officeDocument/2006/relationships/hyperlink" Target="http://www.datasciencecentral.com/profiles/blogs/hadoop-herd-when-to-use-what" TargetMode="Externa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azure.microsoft.com/en-us/documentation/services/hdinsight/" TargetMode="External"/><Relationship Id="rId2" Type="http://schemas.openxmlformats.org/officeDocument/2006/relationships/slide" Target="../slides/slide13.xml"/><Relationship Id="rId1" Type="http://schemas.openxmlformats.org/officeDocument/2006/relationships/notesMaster" Target="../notesMasters/notesMaster1.xml"/><Relationship Id="rId5" Type="http://schemas.openxmlformats.org/officeDocument/2006/relationships/hyperlink" Target="https://azure.microsoft.com/en-us/documentation/articles/data-factory-compute-linked-services/#azure-hdinsight-on-demand-linked-service" TargetMode="External"/><Relationship Id="rId4" Type="http://schemas.openxmlformats.org/officeDocument/2006/relationships/hyperlink" Target="https://azure.microsoft.com/en-us/pricing/details/hdinsight/" TargetMode="Externa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azure.portal.com/" TargetMode="External"/><Relationship Id="rId2" Type="http://schemas.openxmlformats.org/officeDocument/2006/relationships/slide" Target="../slides/slide14.xml"/><Relationship Id="rId1" Type="http://schemas.openxmlformats.org/officeDocument/2006/relationships/notesMaster" Target="../notesMasters/notesMaster1.xml"/><Relationship Id="rId4" Type="http://schemas.openxmlformats.org/officeDocument/2006/relationships/hyperlink" Target="https://azure.microsoft.com/en-us/documentation/articles/hdinsight-provision-clusters/" TargetMode="Externa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azure.microsoft.com/en-us/documentation/articles/hdinsight-use-hive/" TargetMode="External"/><Relationship Id="rId2" Type="http://schemas.openxmlformats.org/officeDocument/2006/relationships/slide" Target="../slides/slide15.xml"/><Relationship Id="rId1" Type="http://schemas.openxmlformats.org/officeDocument/2006/relationships/notesMaster" Target="../notesMasters/notesMaster1.xml"/><Relationship Id="rId5" Type="http://schemas.openxmlformats.org/officeDocument/2006/relationships/hyperlink" Target="https://azure.microsoft.com/en-us/documentation/articles/hdinsight-use-hive/#usetez" TargetMode="External"/><Relationship Id="rId4" Type="http://schemas.openxmlformats.org/officeDocument/2006/relationships/hyperlink" Target="https://msdn.microsoft.com/en-us/library/dn749875.aspx?f=255&amp;MSPPError=-2147217396" TargetMode="Externa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azure.microsoft.com/en-us/documentation/articles/hdinsight-use-hive/" TargetMode="External"/><Relationship Id="rId2" Type="http://schemas.openxmlformats.org/officeDocument/2006/relationships/slide" Target="../slides/slide16.xml"/><Relationship Id="rId1" Type="http://schemas.openxmlformats.org/officeDocument/2006/relationships/notesMaster" Target="../notesMasters/notesMaster1.xml"/><Relationship Id="rId5" Type="http://schemas.openxmlformats.org/officeDocument/2006/relationships/hyperlink" Target="https://azure.microsoft.com/en-us/documentation/articles/hdinsight-use-hive/#usetez" TargetMode="External"/><Relationship Id="rId4" Type="http://schemas.openxmlformats.org/officeDocument/2006/relationships/hyperlink" Target="https://msdn.microsoft.com/en-us/library/dn749875.aspx?f=255&amp;MSPPError=-2147217396" TargetMode="Externa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azure.microsoft.com/en-us/documentation/articles/hdinsight-connect-excel-hive-odbc-driver/"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www.dezyre.com/hadoop-tutorial/apache-hive-tutorial-tables"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azure.microsoft.com/en-us/services/data-factory/" TargetMode="External"/><Relationship Id="rId2" Type="http://schemas.openxmlformats.org/officeDocument/2006/relationships/slide" Target="../slides/slide19.xml"/><Relationship Id="rId1" Type="http://schemas.openxmlformats.org/officeDocument/2006/relationships/notesMaster" Target="../notesMasters/notesMaster1.xml"/><Relationship Id="rId4" Type="http://schemas.openxmlformats.org/officeDocument/2006/relationships/hyperlink" Target="https://channel9.msdn.com/Blogs/Windows-Azure/Introduction-to-Azure-Data-Factory/"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azure.microsoft.com/en-us/documentation/articles/data-factory-introduction/" TargetMode="External"/><Relationship Id="rId2" Type="http://schemas.openxmlformats.org/officeDocument/2006/relationships/slide" Target="../slides/slide20.xml"/><Relationship Id="rId1" Type="http://schemas.openxmlformats.org/officeDocument/2006/relationships/notesMaster" Target="../notesMasters/notesMaster1.xml"/><Relationship Id="rId4" Type="http://schemas.openxmlformats.org/officeDocument/2006/relationships/hyperlink" Target="https://msdn.microsoft.com/en-us/library/azure/dn834987.aspx" TargetMode="Externa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azure.microsoft.com/en-us/pricing/details/data-factory/"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azure.microsoft.com/en-us/documentation/articles/data-factory-introduction/" TargetMode="External"/><Relationship Id="rId2" Type="http://schemas.openxmlformats.org/officeDocument/2006/relationships/slide" Target="../slides/slide22.xml"/><Relationship Id="rId1" Type="http://schemas.openxmlformats.org/officeDocument/2006/relationships/notesMaster" Target="../notesMasters/notesMaster1.xml"/><Relationship Id="rId4" Type="http://schemas.openxmlformats.org/officeDocument/2006/relationships/hyperlink" Target="http://azure.microsoft.com/blog/2015/04/24/azure-data-factory-update-simplified-sample-deployment/" TargetMode="Externa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azure.microsoft.com/en-us/documentation/articles/data-factory-build-your-first-pipeline/"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azure.microsoft.com/en-us/documentation/articles/data-factory-customer-profiling-usecase/"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azure.microsoft.com/en-us/documentation/videos/azure-data-factory-102-analyzing-complex-churn-models-with-azure-data-factory/"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azure.microsoft.com/en-us/documentation/articles/data-factory-build-your-first-pipeline-using-editor/" TargetMode="External"/><Relationship Id="rId2" Type="http://schemas.openxmlformats.org/officeDocument/2006/relationships/slide" Target="../slides/slide26.xml"/><Relationship Id="rId1" Type="http://schemas.openxmlformats.org/officeDocument/2006/relationships/notesMaster" Target="../notesMasters/notesMaster1.xml"/><Relationship Id="rId4" Type="http://schemas.openxmlformats.org/officeDocument/2006/relationships/hyperlink" Target="https://azure.microsoft.com/en-us/documentation/articles/data-factory-samples/" TargetMode="Externa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azure.microsoft.com/en-us/documentation/articles/data-factory-build-your-first-pipeline/"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azure.microsoft.com/en-us/documentation/articles/data-factory-build-your-first-pipeline/" TargetMode="External"/><Relationship Id="rId2" Type="http://schemas.openxmlformats.org/officeDocument/2006/relationships/slide" Target="../slides/slide28.xml"/><Relationship Id="rId1" Type="http://schemas.openxmlformats.org/officeDocument/2006/relationships/notesMaster" Target="../notesMasters/notesMaster1.xml"/><Relationship Id="rId4" Type="http://schemas.openxmlformats.org/officeDocument/2006/relationships/hyperlink" Target="https://azure.microsoft.com/en-us/documentation/articles/data-factory-build-your-first-pipeline-using-editor/" TargetMode="Externa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azure.microsoft.com/en-us/documentation/articles/data-factory-introduction/" TargetMode="External"/><Relationship Id="rId2" Type="http://schemas.openxmlformats.org/officeDocument/2006/relationships/slide" Target="../slides/slide29.xml"/><Relationship Id="rId1" Type="http://schemas.openxmlformats.org/officeDocument/2006/relationships/notesMaster" Target="../notesMasters/notesMaster1.xml"/><Relationship Id="rId4" Type="http://schemas.openxmlformats.org/officeDocument/2006/relationships/hyperlink" Target="https://azure.microsoft.com/en-us/documentation/articles/data-factory-build-your-first-pipeline/"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s://azure.microsoft.com/en-us/documentation/articles/data-factory-build-your-first-pipeline-using-powershell/"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azure.microsoft.com/en-us/documentation/articles/data-factory-build-your-first-pipeline/" TargetMode="External"/><Relationship Id="rId2" Type="http://schemas.openxmlformats.org/officeDocument/2006/relationships/slide" Target="../slides/slide31.xml"/><Relationship Id="rId1" Type="http://schemas.openxmlformats.org/officeDocument/2006/relationships/notesMaster" Target="../notesMasters/notesMaster1.xml"/><Relationship Id="rId4" Type="http://schemas.openxmlformats.org/officeDocument/2006/relationships/hyperlink" Target="https://azure.microsoft.com/en-us/documentation/articles/data-factory-build-your-first-pipeline-using-editor/" TargetMode="Externa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azure.microsoft.com/en-us/documentation/articles/data-factory-data-movement-activities/" TargetMode="External"/><Relationship Id="rId2" Type="http://schemas.openxmlformats.org/officeDocument/2006/relationships/slide" Target="../slides/slide33.xml"/><Relationship Id="rId1" Type="http://schemas.openxmlformats.org/officeDocument/2006/relationships/notesMaster" Target="../notesMasters/notesMaster1.xml"/><Relationship Id="rId4" Type="http://schemas.openxmlformats.org/officeDocument/2006/relationships/hyperlink" Target="https://azure.microsoft.com/en-us/documentation/articles/data-factory-compute-linked-services/" TargetMode="Externa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azure.microsoft.com/en-us/documentation/articles/data-factory-data-movement-activities/" TargetMode="External"/><Relationship Id="rId2" Type="http://schemas.openxmlformats.org/officeDocument/2006/relationships/slide" Target="../slides/slide34.xml"/><Relationship Id="rId1" Type="http://schemas.openxmlformats.org/officeDocument/2006/relationships/notesMaster" Target="../notesMasters/notesMaster1.xml"/><Relationship Id="rId4" Type="http://schemas.openxmlformats.org/officeDocument/2006/relationships/hyperlink" Target="https://azure.microsoft.com/en-us/documentation/articles/data-factory-move-data-between-onprem-and-cloud/" TargetMode="Externa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s://azure.microsoft.com/en-us/documentation/articles/data-factory-data-transformation-activities/" TargetMode="External"/><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s://azure.microsoft.com/en-us/documentation/articles/data-factory-create-pipelines/" TargetMode="External"/><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3" Type="http://schemas.openxmlformats.org/officeDocument/2006/relationships/hyperlink" Target="https://azure.microsoft.com/en-us/documentation/articles/data-factory-create-datasets/" TargetMode="External"/><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3" Type="http://schemas.openxmlformats.org/officeDocument/2006/relationships/hyperlink" Target="https://azure.microsoft.com/en-us/documentation/articles/data-factory-build-your-first-pipeline-using-editor/" TargetMode="External"/><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www.sv-europe.com/crisp-dm-methodology/" TargetMode="External"/><Relationship Id="rId2" Type="http://schemas.openxmlformats.org/officeDocument/2006/relationships/slide" Target="../slides/slide4.xml"/><Relationship Id="rId1" Type="http://schemas.openxmlformats.org/officeDocument/2006/relationships/notesMaster" Target="../notesMasters/notesMaster1.xml"/><Relationship Id="rId6" Type="http://schemas.openxmlformats.org/officeDocument/2006/relationships/hyperlink" Target="https://azure.microsoft.com/en-us/documentation/articles/data-science-process-walkthroughs/" TargetMode="External"/><Relationship Id="rId5" Type="http://schemas.openxmlformats.org/officeDocument/2006/relationships/hyperlink" Target="https://azure.microsoft.com/en-us/documentation/learning-paths/cortana-analytics-process/" TargetMode="External"/><Relationship Id="rId4" Type="http://schemas.openxmlformats.org/officeDocument/2006/relationships/hyperlink" Target="https://azure.microsoft.com/en-us/documentation/articles/data-science-process-overview/" TargetMode="Externa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3" Type="http://schemas.openxmlformats.org/officeDocument/2006/relationships/hyperlink" Target="https://azure.microsoft.com/en-us/documentation/articles/data-factory-create-pipelines/" TargetMode="External"/><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3" Type="http://schemas.openxmlformats.org/officeDocument/2006/relationships/hyperlink" Target="https://azure.microsoft.com/en-us/documentation/articles/data-factory-build-your-first-pipeline-using-editor/" TargetMode="External"/><Relationship Id="rId2" Type="http://schemas.openxmlformats.org/officeDocument/2006/relationships/slide" Target="../slides/slide42.xml"/><Relationship Id="rId1" Type="http://schemas.openxmlformats.org/officeDocument/2006/relationships/notesMaster" Target="../notesMasters/notesMaster1.xml"/><Relationship Id="rId4" Type="http://schemas.openxmlformats.org/officeDocument/2006/relationships/hyperlink" Target="https://azure.microsoft.com/en-us/documentation/articles/data-factory-create-pipelines/" TargetMode="Externa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3" Type="http://schemas.openxmlformats.org/officeDocument/2006/relationships/hyperlink" Target="https://azure.microsoft.com/en-us/documentation/articles/data-factory-monitor-manage-pipelines/" TargetMode="External"/><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3" Type="http://schemas.openxmlformats.org/officeDocument/2006/relationships/hyperlink" Target="http://blogs.msdn.com/b/karang/archive/2015/11/13/azure-data-factory-detecting-and-re-running-failed-adf-slices.aspx" TargetMode="External"/><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3" Type="http://schemas.openxmlformats.org/officeDocument/2006/relationships/hyperlink" Target="http://blogs.msdn.com/b/karang/archive/2015/11/13/azure-data-factory-detecting-and-re-running-failed-adf-slices.aspx" TargetMode="External"/><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8" Type="http://schemas.openxmlformats.org/officeDocument/2006/relationships/hyperlink" Target="http://azure.microsoft.com/en-us/campaigns/data-lake/" TargetMode="External"/><Relationship Id="rId13" Type="http://schemas.openxmlformats.org/officeDocument/2006/relationships/hyperlink" Target="http://azure.microsoft.com/en-us/services/stream-analytics/" TargetMode="External"/><Relationship Id="rId18" Type="http://schemas.openxmlformats.org/officeDocument/2006/relationships/hyperlink" Target="https://www.microsoft.com/cognitive-services" TargetMode="External"/><Relationship Id="rId3" Type="http://schemas.openxmlformats.org/officeDocument/2006/relationships/hyperlink" Target="http://microsoftazure.com/" TargetMode="External"/><Relationship Id="rId21" Type="http://schemas.openxmlformats.org/officeDocument/2006/relationships/hyperlink" Target="https://gallery.cortanaintelligence.com/" TargetMode="External"/><Relationship Id="rId7" Type="http://schemas.openxmlformats.org/officeDocument/2006/relationships/hyperlink" Target="http://azure.microsoft.com/en-us/services/event-hubs/" TargetMode="External"/><Relationship Id="rId12" Type="http://schemas.openxmlformats.org/officeDocument/2006/relationships/hyperlink" Target="http://azure.microsoft.com/en-us/services/hdinsight/" TargetMode="External"/><Relationship Id="rId17" Type="http://schemas.openxmlformats.org/officeDocument/2006/relationships/hyperlink" Target="https://developer.microsoft.com/en-us/Cortana" TargetMode="External"/><Relationship Id="rId2" Type="http://schemas.openxmlformats.org/officeDocument/2006/relationships/slide" Target="../slides/slide5.xml"/><Relationship Id="rId16" Type="http://schemas.openxmlformats.org/officeDocument/2006/relationships/hyperlink" Target="https://blogs.windows.com/buildingapps/2015/08/25/using-cortana-to-interact-with-your-customers-10-by-10/" TargetMode="External"/><Relationship Id="rId20" Type="http://schemas.openxmlformats.org/officeDocument/2006/relationships/hyperlink" Target="https://www.microsoft.com/en-us/server-cloud/cortana-intelligence-suite/what-is-cortana-intelligence.aspx" TargetMode="External"/><Relationship Id="rId1" Type="http://schemas.openxmlformats.org/officeDocument/2006/relationships/notesMaster" Target="../notesMasters/notesMaster1.xml"/><Relationship Id="rId6" Type="http://schemas.openxmlformats.org/officeDocument/2006/relationships/hyperlink" Target="http://azure.microsoft.com/en-us/services/data-factory/" TargetMode="External"/><Relationship Id="rId11" Type="http://schemas.openxmlformats.org/officeDocument/2006/relationships/hyperlink" Target="http://azure.microsoft.com/en-us/services/machine-learning/" TargetMode="External"/><Relationship Id="rId5" Type="http://schemas.openxmlformats.org/officeDocument/2006/relationships/hyperlink" Target="http://azure.microsoft.com/en-us/services/data-catalog" TargetMode="External"/><Relationship Id="rId15" Type="http://schemas.openxmlformats.org/officeDocument/2006/relationships/hyperlink" Target="http://blogs.windows.com/buildingapps/2014/09/23/cortana-integration-and-speech-recognition-new-code-samples/" TargetMode="External"/><Relationship Id="rId10" Type="http://schemas.openxmlformats.org/officeDocument/2006/relationships/hyperlink" Target="http://azure.microsoft.com/en-us/services/sql-data-warehouse/" TargetMode="External"/><Relationship Id="rId19" Type="http://schemas.openxmlformats.org/officeDocument/2006/relationships/hyperlink" Target="https://dev.botframework.com/" TargetMode="External"/><Relationship Id="rId4" Type="http://schemas.openxmlformats.org/officeDocument/2006/relationships/hyperlink" Target="https://azure.microsoft.com/en-us/documentation/services/storage/" TargetMode="External"/><Relationship Id="rId9" Type="http://schemas.openxmlformats.org/officeDocument/2006/relationships/hyperlink" Target="https://azure.microsoft.com/en-us/services/documentdb/" TargetMode="External"/><Relationship Id="rId14" Type="http://schemas.openxmlformats.org/officeDocument/2006/relationships/hyperlink" Target="https://powerbi.microsoft.com/" TargetMode="External"/><Relationship Id="rId22" Type="http://schemas.openxmlformats.org/officeDocument/2006/relationships/hyperlink" Target="https://caqs.azure.net/#gallery" TargetMode="Externa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microsoft.com/en-us/cloud-platform/cortana-intelligence-suite-industry-solutions"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technet.microsoft.com/en-us/library/ms124438(v=sql.100).aspx"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technet.microsoft.com/en-us/library/ms124438(v=sql.100).aspx"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msdn.microsoft.com/en-us/library/dn749822.aspx"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Main</a:t>
            </a:r>
            <a:r>
              <a:rPr lang="en-US" sz="1800" baseline="0" dirty="0"/>
              <a:t> page: </a:t>
            </a:r>
            <a:r>
              <a:rPr lang="en-US" sz="1800" baseline="0" dirty="0">
                <a:hlinkClick r:id="rId3"/>
              </a:rPr>
              <a:t>http://cortanaanalytics.com</a:t>
            </a:r>
            <a:r>
              <a:rPr lang="en-US" sz="1800" baseline="0" dirty="0"/>
              <a:t> </a:t>
            </a:r>
          </a:p>
          <a:p>
            <a:pPr marL="228600" indent="-228600">
              <a:buFont typeface="+mj-lt"/>
              <a:buAutoNum type="arabicPeriod"/>
            </a:pPr>
            <a:r>
              <a:rPr lang="en-US" sz="1800" baseline="0" dirty="0"/>
              <a:t>To begin this module, you should have: </a:t>
            </a:r>
          </a:p>
          <a:p>
            <a:pPr marL="445862" lvl="1" indent="-228600">
              <a:buFont typeface="+mj-lt"/>
              <a:buAutoNum type="arabicPeriod"/>
            </a:pPr>
            <a:r>
              <a:rPr lang="en-US" sz="1800" baseline="0" dirty="0"/>
              <a:t>Basic Math and Stats skills</a:t>
            </a:r>
          </a:p>
          <a:p>
            <a:pPr marL="445862" lvl="1" indent="-228600">
              <a:buFont typeface="+mj-lt"/>
              <a:buAutoNum type="arabicPeriod"/>
            </a:pPr>
            <a:r>
              <a:rPr lang="en-US" sz="1800" baseline="0" dirty="0"/>
              <a:t>Business and Domain Awareness</a:t>
            </a:r>
          </a:p>
          <a:p>
            <a:pPr marL="445862" lvl="1" indent="-228600">
              <a:buFont typeface="+mj-lt"/>
              <a:buAutoNum type="arabicPeriod"/>
            </a:pPr>
            <a:r>
              <a:rPr lang="en-US" sz="1800" baseline="0" dirty="0"/>
              <a:t>General Computing Background</a:t>
            </a:r>
          </a:p>
          <a:p>
            <a:endParaRPr lang="en-US" sz="180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baseline="0" dirty="0"/>
              <a:t>NOTE: These workbooks contain many resources to lead you through the course, and provide a rich set of references that you can use to learn much more about these topics. If the links do not resolve properly, type the link address in manually in your web browser. If the links have changed or been removed, simply enter the title of the link in a web search engine to find the new location or a corollary reference. </a:t>
            </a:r>
          </a:p>
          <a:p>
            <a:endParaRPr lang="en-US" sz="1800" dirty="0"/>
          </a:p>
          <a:p>
            <a:endParaRPr lang="en-US" sz="1800" dirty="0"/>
          </a:p>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rgbClr val="505050"/>
              </a:solidFill>
              <a:effectLst/>
              <a:uLnTx/>
              <a:uFillTx/>
            </a:endParaRPr>
          </a:p>
        </p:txBody>
      </p:sp>
    </p:spTree>
    <p:extLst>
      <p:ext uri="{BB962C8B-B14F-4D97-AF65-F5344CB8AC3E}">
        <p14:creationId xmlns:p14="http://schemas.microsoft.com/office/powerpoint/2010/main" val="39772606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0999" y="4343400"/>
            <a:ext cx="6317255" cy="4492128"/>
          </a:xfrm>
        </p:spPr>
        <p:txBody>
          <a:bodyPr/>
          <a:lstStyle/>
          <a:p>
            <a:pPr marL="228600" indent="-228600">
              <a:buFont typeface="+mj-lt"/>
              <a:buAutoNum type="arabicPeriod"/>
            </a:pPr>
            <a:r>
              <a:rPr lang="en-US" sz="1400" dirty="0"/>
              <a:t>Primary site: </a:t>
            </a:r>
            <a:r>
              <a:rPr lang="en-US" sz="1400" dirty="0">
                <a:hlinkClick r:id="rId3"/>
              </a:rPr>
              <a:t>https://azure.microsoft.com/en-us/services/hdinsight/</a:t>
            </a:r>
            <a:r>
              <a:rPr lang="en-US" sz="1400" dirty="0"/>
              <a:t> </a:t>
            </a:r>
          </a:p>
          <a:p>
            <a:pPr marL="228600" indent="-228600">
              <a:buFont typeface="+mj-lt"/>
              <a:buAutoNum type="arabicPeriod"/>
            </a:pPr>
            <a:r>
              <a:rPr lang="en-US" sz="1400" dirty="0"/>
              <a:t>Quick</a:t>
            </a:r>
            <a:r>
              <a:rPr lang="en-US" sz="1400" baseline="0" dirty="0"/>
              <a:t> overview: </a:t>
            </a:r>
            <a:r>
              <a:rPr lang="en-US" sz="1400" baseline="0" dirty="0">
                <a:hlinkClick r:id="rId4"/>
              </a:rPr>
              <a:t>https://azure.microsoft.com/en-us/documentation/articles/hdinsight-hadoop-introduction/</a:t>
            </a:r>
            <a:r>
              <a:rPr lang="en-US" sz="1400" baseline="0" dirty="0"/>
              <a:t> </a:t>
            </a:r>
          </a:p>
          <a:p>
            <a:pPr marL="228600" indent="-228600">
              <a:buFont typeface="+mj-lt"/>
              <a:buAutoNum type="arabicPeriod"/>
            </a:pPr>
            <a:r>
              <a:rPr lang="en-US" sz="1400" baseline="0" dirty="0"/>
              <a:t>4-week online course through the </a:t>
            </a:r>
            <a:r>
              <a:rPr lang="en-US" sz="1400" baseline="0" dirty="0" err="1"/>
              <a:t>edX</a:t>
            </a:r>
            <a:r>
              <a:rPr lang="en-US" sz="1400" baseline="0" dirty="0"/>
              <a:t> platform: </a:t>
            </a:r>
            <a:r>
              <a:rPr lang="en-US" sz="1400" baseline="0" dirty="0">
                <a:hlinkClick r:id="rId5"/>
              </a:rPr>
              <a:t>https://www.edx.org/course/processing-big-data-azure-hdinsight-microsoft-dat202-1x</a:t>
            </a:r>
            <a:r>
              <a:rPr lang="en-US" sz="1400" baseline="0" dirty="0"/>
              <a:t> </a:t>
            </a:r>
          </a:p>
          <a:p>
            <a:pPr marL="228600" indent="-228600">
              <a:buFont typeface="+mj-lt"/>
              <a:buAutoNum type="arabicPeriod"/>
            </a:pPr>
            <a:r>
              <a:rPr lang="en-US" sz="1400" baseline="0" dirty="0"/>
              <a:t>11 minute introductory video: </a:t>
            </a:r>
            <a:r>
              <a:rPr lang="en-US" sz="1400" baseline="0" dirty="0">
                <a:hlinkClick r:id="rId6"/>
              </a:rPr>
              <a:t>https://channel9.msdn.com/Series/Getting-started-with-Windows-Azure-HDInsight-Service/Introduction-To-Windows-Azure-HDInsight-Service</a:t>
            </a:r>
            <a:r>
              <a:rPr lang="en-US" sz="1400" baseline="0" dirty="0"/>
              <a:t> </a:t>
            </a:r>
          </a:p>
          <a:p>
            <a:pPr marL="228600" indent="-228600">
              <a:buFont typeface="+mj-lt"/>
              <a:buAutoNum type="arabicPeriod"/>
            </a:pPr>
            <a:r>
              <a:rPr lang="en-US" sz="1400" baseline="0" dirty="0"/>
              <a:t>Microsoft Virtual Academy Training (4 hours) - </a:t>
            </a:r>
            <a:r>
              <a:rPr lang="en-US" sz="1400" baseline="0" dirty="0">
                <a:hlinkClick r:id="rId7"/>
              </a:rPr>
              <a:t>https://mva.microsoft.com/en-US/training-courses/big-data-analytics-with-hdinsight-hadoop-on-azure-10551?l=UJ7MAv97_5804984382</a:t>
            </a:r>
            <a:r>
              <a:rPr lang="en-US" sz="1400" baseline="0" dirty="0"/>
              <a:t> </a:t>
            </a:r>
          </a:p>
          <a:p>
            <a:pPr marL="228600" indent="-228600">
              <a:buFont typeface="+mj-lt"/>
              <a:buAutoNum type="arabicPeriod"/>
            </a:pPr>
            <a:r>
              <a:rPr lang="en-US" sz="1400" dirty="0"/>
              <a:t>Learning path for</a:t>
            </a:r>
            <a:r>
              <a:rPr lang="en-US" sz="1400" baseline="0" dirty="0"/>
              <a:t> HDInsight: </a:t>
            </a:r>
            <a:r>
              <a:rPr lang="en-US" sz="1400" baseline="0" dirty="0">
                <a:hlinkClick r:id="rId8"/>
              </a:rPr>
              <a:t>https://azure.microsoft.com/en-us/documentation/learning-paths/hdinsight-self-guided-hadoop-training/</a:t>
            </a:r>
            <a:r>
              <a:rPr lang="en-US" sz="1400" baseline="0" dirty="0"/>
              <a:t> </a:t>
            </a:r>
          </a:p>
          <a:p>
            <a:pPr marL="228600" indent="-228600">
              <a:buFont typeface="+mj-lt"/>
              <a:buAutoNum type="arabicPeriod"/>
            </a:pPr>
            <a:r>
              <a:rPr lang="en-US" sz="1400" baseline="0" dirty="0"/>
              <a:t>Azure Feature Pack for SQL Server 2016, i.e., SSIS (SQL Server Integration Services): </a:t>
            </a:r>
            <a:r>
              <a:rPr lang="en-US" sz="1400" baseline="0" dirty="0">
                <a:hlinkClick r:id="rId9"/>
              </a:rPr>
              <a:t>https://msdn.microsoft.com/en-us/library/mt146770(v=sql.130).aspx</a:t>
            </a:r>
            <a:r>
              <a:rPr lang="en-US" sz="1400" baseline="0" dirty="0"/>
              <a:t> </a:t>
            </a:r>
          </a:p>
          <a:p>
            <a:pPr marL="228600" indent="-228600">
              <a:buFont typeface="+mj-lt"/>
              <a:buAutoNum type="arabicPeriod"/>
            </a:pPr>
            <a:endParaRPr lang="en-US" sz="14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237293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342900" indent="-342900">
              <a:buFont typeface="+mj-lt"/>
              <a:buAutoNum type="arabicPeriod"/>
            </a:pPr>
            <a:r>
              <a:rPr lang="en-US" sz="1800" dirty="0"/>
              <a:t>Introduction Document</a:t>
            </a:r>
            <a:r>
              <a:rPr lang="en-US" sz="1800" baseline="0" dirty="0"/>
              <a:t>: </a:t>
            </a:r>
            <a:r>
              <a:rPr lang="en-US" sz="1800" baseline="0" dirty="0">
                <a:hlinkClick r:id="rId3"/>
              </a:rPr>
              <a:t>https://azure.microsoft.com/en-us/documentation/articles/hdinsight-hadoop-introduction/</a:t>
            </a:r>
            <a:r>
              <a:rPr lang="en-US" sz="1800" baseline="0" dirty="0"/>
              <a:t> </a:t>
            </a:r>
          </a:p>
          <a:p>
            <a:pPr marL="342900" indent="-342900">
              <a:buFont typeface="+mj-lt"/>
              <a:buAutoNum type="arabicPeriod"/>
            </a:pPr>
            <a:r>
              <a:rPr lang="en-US" sz="1800" baseline="0" dirty="0"/>
              <a:t>For more information about Hadoop, visit the apache foundation site: </a:t>
            </a:r>
            <a:r>
              <a:rPr lang="en-US" sz="1800" baseline="0" dirty="0">
                <a:hlinkClick r:id="rId4"/>
              </a:rPr>
              <a:t>http://hadoop.apache.org/</a:t>
            </a:r>
            <a:r>
              <a:rPr lang="en-US" sz="1800" baseline="0" dirty="0"/>
              <a:t> </a:t>
            </a:r>
            <a:br>
              <a:rPr lang="en-US" sz="1800" baseline="0" dirty="0"/>
            </a:br>
            <a:endParaRPr lang="en-US" sz="1800" baseline="0" dirty="0"/>
          </a:p>
          <a:p>
            <a:br>
              <a:rPr lang="en-US" sz="1800" baseline="0" dirty="0">
                <a:latin typeface="Segoe UI Light"/>
                <a:cs typeface="Segoe UI Light"/>
              </a:rPr>
            </a:br>
            <a:endParaRPr lang="en-US" sz="1800" baseline="0" dirty="0">
              <a:latin typeface="Segoe UI Light"/>
              <a:cs typeface="Segoe UI Light"/>
            </a:endParaRPr>
          </a:p>
          <a:p>
            <a:br>
              <a:rPr lang="en-US" sz="1800" baseline="0" dirty="0">
                <a:latin typeface="Segoe UI Light"/>
                <a:cs typeface="Segoe UI Light"/>
              </a:rPr>
            </a:br>
            <a:endParaRPr lang="en-US" sz="1800" baseline="0" dirty="0">
              <a:latin typeface="Segoe UI Light"/>
              <a:cs typeface="Segoe UI Light"/>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839153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641350"/>
            <a:ext cx="5426075" cy="3051175"/>
          </a:xfrm>
        </p:spPr>
      </p:sp>
      <p:sp>
        <p:nvSpPr>
          <p:cNvPr id="3" name="Notes Placeholder 2"/>
          <p:cNvSpPr>
            <a:spLocks noGrp="1"/>
          </p:cNvSpPr>
          <p:nvPr>
            <p:ph type="body" idx="1"/>
          </p:nvPr>
        </p:nvSpPr>
        <p:spPr>
          <a:xfrm>
            <a:off x="381000" y="3877937"/>
            <a:ext cx="6096000" cy="5078775"/>
          </a:xfrm>
        </p:spPr>
        <p:txBody>
          <a:bodyPr/>
          <a:lstStyle/>
          <a:p>
            <a:pPr marL="342900" marR="0" indent="-342900" algn="l" defTabSz="932742" rtl="0" eaLnBrk="1" fontAlgn="auto" latinLnBrk="0" hangingPunct="1">
              <a:lnSpc>
                <a:spcPct val="90000"/>
              </a:lnSpc>
              <a:spcBef>
                <a:spcPts val="0"/>
              </a:spcBef>
              <a:spcAft>
                <a:spcPts val="340"/>
              </a:spcAft>
              <a:buClrTx/>
              <a:buSzTx/>
              <a:buFont typeface="+mj-lt"/>
              <a:buAutoNum type="arabicPeriod"/>
              <a:tabLst/>
              <a:defRPr/>
            </a:pPr>
            <a:r>
              <a:rPr lang="en-US" sz="1800" b="0" kern="1200" dirty="0">
                <a:solidFill>
                  <a:schemeClr val="tx1"/>
                </a:solidFill>
                <a:effectLst/>
                <a:latin typeface="+mj-lt"/>
              </a:rPr>
              <a:t>Full training example</a:t>
            </a:r>
            <a:r>
              <a:rPr lang="en-US" sz="1800" b="0" kern="1200" baseline="0" dirty="0">
                <a:solidFill>
                  <a:schemeClr val="tx1"/>
                </a:solidFill>
                <a:effectLst/>
                <a:latin typeface="+mj-lt"/>
              </a:rPr>
              <a:t> for the local HDP Instance: </a:t>
            </a:r>
            <a:r>
              <a:rPr lang="en-US" sz="1800" u="sng" kern="1200" dirty="0">
                <a:solidFill>
                  <a:schemeClr val="tx1"/>
                </a:solidFill>
                <a:effectLst/>
                <a:latin typeface="+mj-lt"/>
                <a:ea typeface="+mn-ea"/>
                <a:cs typeface="+mn-cs"/>
                <a:hlinkClick r:id="rId3"/>
              </a:rPr>
              <a:t>http://hortonworks.com/hadoop-tutorial/hello-world-an-introduction-to-hadoop-hcatalog-hive-and-pig/</a:t>
            </a:r>
            <a:r>
              <a:rPr lang="en-US" sz="1800" kern="1200" dirty="0">
                <a:solidFill>
                  <a:schemeClr val="tx1"/>
                </a:solidFill>
                <a:effectLst/>
                <a:latin typeface="+mj-lt"/>
                <a:ea typeface="+mn-ea"/>
                <a:cs typeface="+mn-cs"/>
              </a:rPr>
              <a:t> </a:t>
            </a:r>
          </a:p>
          <a:p>
            <a:pPr marL="342900" marR="0" indent="-3429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effectLst/>
                <a:latin typeface="+mj-lt"/>
                <a:ea typeface="+mn-ea"/>
                <a:cs typeface="+mn-cs"/>
              </a:rPr>
              <a:t>More detail on the Hadoop Components: </a:t>
            </a:r>
            <a:r>
              <a:rPr lang="en-US" sz="1800" kern="1200" dirty="0">
                <a:solidFill>
                  <a:schemeClr val="tx1"/>
                </a:solidFill>
                <a:effectLst/>
                <a:latin typeface="+mj-lt"/>
                <a:ea typeface="+mn-ea"/>
                <a:cs typeface="+mn-cs"/>
                <a:hlinkClick r:id="rId4"/>
              </a:rPr>
              <a:t>http://www.datasciencecentral.com/profiles/blogs/hadoop-herd-when-to-use-what</a:t>
            </a:r>
            <a:r>
              <a:rPr lang="en-US" sz="1800" kern="1200" dirty="0">
                <a:solidFill>
                  <a:schemeClr val="tx1"/>
                </a:solidFill>
                <a:effectLst/>
                <a:latin typeface="+mj-lt"/>
                <a:ea typeface="+mn-ea"/>
                <a:cs typeface="+mn-cs"/>
              </a:rPr>
              <a:t>  </a:t>
            </a:r>
          </a:p>
          <a:p>
            <a:endParaRPr lang="en-IN" sz="1800" b="1" kern="1200" dirty="0">
              <a:solidFill>
                <a:schemeClr val="tx1"/>
              </a:solidFill>
              <a:effectLst/>
              <a:latin typeface="+mj-lt"/>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1C7738D-585F-44E8-BC09-82BBE838E7E1}"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6515381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342900" indent="-342900">
              <a:buFont typeface="+mj-lt"/>
              <a:buAutoNum type="arabicPeriod"/>
            </a:pPr>
            <a:r>
              <a:rPr lang="en-US" sz="1800" dirty="0"/>
              <a:t>Main page: </a:t>
            </a:r>
            <a:r>
              <a:rPr lang="en-US" sz="1800" dirty="0">
                <a:hlinkClick r:id="rId3"/>
              </a:rPr>
              <a:t>https://azure.microsoft.com/en-us/documentation/services/hdinsight/</a:t>
            </a:r>
            <a:r>
              <a:rPr lang="en-US" sz="1800" dirty="0"/>
              <a:t>  </a:t>
            </a:r>
          </a:p>
          <a:p>
            <a:pPr marL="342900" indent="-342900">
              <a:buFont typeface="+mj-lt"/>
              <a:buAutoNum type="arabicPeriod"/>
            </a:pPr>
            <a:r>
              <a:rPr lang="en-US" sz="1800" dirty="0"/>
              <a:t>Pricing for HDInsight: </a:t>
            </a:r>
            <a:r>
              <a:rPr lang="en-US" sz="1800" dirty="0">
                <a:hlinkClick r:id="rId4"/>
              </a:rPr>
              <a:t>https://azure.microsoft.com/en-us/pricing/details/hdinsight/</a:t>
            </a:r>
            <a:r>
              <a:rPr lang="en-US" sz="1800" dirty="0"/>
              <a:t> </a:t>
            </a:r>
          </a:p>
          <a:p>
            <a:pPr marL="342900" indent="-342900">
              <a:buFont typeface="+mj-lt"/>
              <a:buAutoNum type="arabicPeriod"/>
            </a:pPr>
            <a:r>
              <a:rPr lang="en-US" sz="1800" dirty="0"/>
              <a:t>On demand</a:t>
            </a:r>
            <a:r>
              <a:rPr lang="en-US" sz="1800" baseline="0" dirty="0"/>
              <a:t> HDInsight cluster: </a:t>
            </a:r>
            <a:r>
              <a:rPr lang="en-US" sz="1800" baseline="0" dirty="0">
                <a:hlinkClick r:id="rId5"/>
              </a:rPr>
              <a:t>https://azure.microsoft.com/en-us/documentation/articles/data-factory-compute-linked-services/#azure-hdinsight-on-demand-linked-service</a:t>
            </a:r>
            <a:r>
              <a:rPr lang="en-US" sz="1800" baseline="0" dirty="0"/>
              <a:t> </a:t>
            </a:r>
            <a:endParaRPr lang="en-US" sz="1800" dirty="0"/>
          </a:p>
          <a:p>
            <a:pPr marL="171450" indent="-171450">
              <a:buFont typeface="Arial" panose="020B0604020202020204" pitchFamily="34" charset="0"/>
              <a:buChar char="•"/>
            </a:pP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358735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263390"/>
            <a:ext cx="6096000" cy="4194810"/>
          </a:xfrm>
        </p:spPr>
        <p:txBody>
          <a:bodyPr/>
          <a:lstStyle/>
          <a:p>
            <a:pPr marL="342900" indent="-342900">
              <a:buFont typeface="+mj-lt"/>
              <a:buAutoNum type="arabicPeriod"/>
            </a:pPr>
            <a:r>
              <a:rPr lang="en-US" sz="1800" dirty="0"/>
              <a:t>Azure</a:t>
            </a:r>
            <a:r>
              <a:rPr lang="en-US" sz="1800" baseline="0" dirty="0"/>
              <a:t> Portal: </a:t>
            </a:r>
            <a:r>
              <a:rPr lang="en-US" sz="1800" baseline="0" dirty="0">
                <a:hlinkClick r:id="rId3"/>
              </a:rPr>
              <a:t>http://azure.portal.com</a:t>
            </a:r>
            <a:r>
              <a:rPr lang="en-US" sz="1800" baseline="0" dirty="0"/>
              <a:t> </a:t>
            </a:r>
          </a:p>
          <a:p>
            <a:pPr marL="342900" indent="-342900">
              <a:buFont typeface="+mj-lt"/>
              <a:buAutoNum type="arabicPeriod"/>
            </a:pPr>
            <a:r>
              <a:rPr lang="en-US" sz="1800" dirty="0"/>
              <a:t>Provisioning</a:t>
            </a:r>
            <a:r>
              <a:rPr lang="en-US" sz="1800" baseline="0" dirty="0"/>
              <a:t> Clusters: </a:t>
            </a:r>
            <a:r>
              <a:rPr lang="en-US" sz="1800" baseline="0" dirty="0">
                <a:hlinkClick r:id="rId4"/>
              </a:rPr>
              <a:t>https://azure.microsoft.com/en-us/documentation/articles/hdinsight-provision-clusters/</a:t>
            </a:r>
            <a:r>
              <a:rPr lang="en-US" sz="1800" baseline="0" dirty="0"/>
              <a:t> </a:t>
            </a:r>
          </a:p>
          <a:p>
            <a:pPr marL="342900" indent="-342900">
              <a:buFont typeface="+mj-lt"/>
              <a:buAutoNum type="arabicPeriod"/>
            </a:pPr>
            <a:r>
              <a:rPr lang="en-US" sz="1800" baseline="0" dirty="0"/>
              <a:t>Different clusters have different node types, number of nodes, and node sizes.</a:t>
            </a: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054000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171450" indent="-171450">
              <a:buFont typeface="Arial" panose="020B0604020202020204" pitchFamily="34" charset="0"/>
              <a:buChar char="•"/>
            </a:pPr>
            <a:r>
              <a:rPr lang="en-US" sz="1800" dirty="0"/>
              <a:t>Hive for HDInsight: </a:t>
            </a:r>
            <a:r>
              <a:rPr lang="en-US" sz="1800" dirty="0">
                <a:hlinkClick r:id="rId3"/>
              </a:rPr>
              <a:t>https://azure.microsoft.com/en-us/documentation/articles/hdinsight-use-hive/</a:t>
            </a:r>
            <a:r>
              <a:rPr lang="en-US" sz="1800" dirty="0"/>
              <a:t> </a:t>
            </a:r>
          </a:p>
          <a:p>
            <a:pPr marL="171450" indent="-171450">
              <a:buFont typeface="Arial" panose="020B0604020202020204" pitchFamily="34" charset="0"/>
              <a:buChar char="•"/>
            </a:pPr>
            <a:r>
              <a:rPr lang="en-US" sz="1800" dirty="0"/>
              <a:t>Referencing</a:t>
            </a:r>
            <a:r>
              <a:rPr lang="en-US" sz="1800" baseline="0" dirty="0"/>
              <a:t> user defined functions with Hive: </a:t>
            </a:r>
            <a:r>
              <a:rPr lang="en-US" sz="1800" baseline="0" dirty="0">
                <a:hlinkClick r:id="rId4"/>
              </a:rPr>
              <a:t>https://msdn.microsoft.com/en-us/library/dn749875.aspx?f=255&amp;MSPPError=-2147217396</a:t>
            </a:r>
            <a:r>
              <a:rPr lang="en-US" sz="1800" baseline="0" dirty="0"/>
              <a:t> </a:t>
            </a:r>
          </a:p>
          <a:p>
            <a:pPr marL="171450" indent="-171450">
              <a:buFont typeface="Arial" panose="020B0604020202020204" pitchFamily="34" charset="0"/>
              <a:buChar char="•"/>
            </a:pPr>
            <a:r>
              <a:rPr lang="en-US" sz="1800" baseline="0" dirty="0"/>
              <a:t>Using Apache </a:t>
            </a:r>
            <a:r>
              <a:rPr lang="en-US" sz="1800" baseline="0" dirty="0" err="1"/>
              <a:t>Tez</a:t>
            </a:r>
            <a:r>
              <a:rPr lang="en-US" sz="1800" baseline="0" dirty="0"/>
              <a:t> for improved performance: </a:t>
            </a:r>
            <a:r>
              <a:rPr lang="en-US" sz="1800" baseline="0" dirty="0">
                <a:hlinkClick r:id="rId5"/>
              </a:rPr>
              <a:t>https://azure.microsoft.com/en-us/documentation/articles/hdinsight-use-hive/#usetez</a:t>
            </a:r>
            <a:r>
              <a:rPr lang="en-US" sz="1800" baseline="0" dirty="0"/>
              <a:t> </a:t>
            </a:r>
          </a:p>
          <a:p>
            <a:pPr marL="171450" indent="-171450">
              <a:buFont typeface="Arial" panose="020B0604020202020204" pitchFamily="34" charset="0"/>
              <a:buChar char="•"/>
            </a:pPr>
            <a:endParaRPr lang="en-US" sz="1800" baseline="0" dirty="0"/>
          </a:p>
          <a:p>
            <a:pPr marL="171450" indent="-171450">
              <a:buFont typeface="Arial" panose="020B0604020202020204" pitchFamily="34" charset="0"/>
              <a:buChar char="•"/>
            </a:pP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167189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207125" cy="3490913"/>
          </a:xfrm>
        </p:spPr>
      </p:sp>
      <p:sp>
        <p:nvSpPr>
          <p:cNvPr id="3" name="Notes Placeholder 2"/>
          <p:cNvSpPr>
            <a:spLocks noGrp="1"/>
          </p:cNvSpPr>
          <p:nvPr>
            <p:ph type="body" idx="1"/>
          </p:nvPr>
        </p:nvSpPr>
        <p:spPr>
          <a:xfrm>
            <a:off x="407987" y="4379913"/>
            <a:ext cx="6207125" cy="4305300"/>
          </a:xfrm>
        </p:spPr>
        <p:txBody>
          <a:bodyPr>
            <a:normAutofit/>
          </a:bodyPr>
          <a:lstStyle/>
          <a:p>
            <a:pPr marL="342900" indent="-342900">
              <a:buFont typeface="+mj-lt"/>
              <a:buAutoNum type="arabicPeriod"/>
            </a:pPr>
            <a:r>
              <a:rPr lang="en-US" sz="1800" dirty="0"/>
              <a:t>Hive for HDInsight: </a:t>
            </a:r>
            <a:r>
              <a:rPr lang="en-US" dirty="0">
                <a:hlinkClick r:id="rId3"/>
              </a:rPr>
              <a:t>https://azure.microsoft.com/en-us/documentation/articles/hdinsight-use-hive/</a:t>
            </a:r>
            <a:r>
              <a:rPr lang="en-US" dirty="0"/>
              <a:t> </a:t>
            </a:r>
          </a:p>
          <a:p>
            <a:pPr marL="342900" indent="-342900">
              <a:buFont typeface="+mj-lt"/>
              <a:buAutoNum type="arabicPeriod"/>
            </a:pPr>
            <a:r>
              <a:rPr lang="en-US" dirty="0"/>
              <a:t>Referencing</a:t>
            </a:r>
            <a:r>
              <a:rPr lang="en-US" sz="1800" baseline="0" dirty="0"/>
              <a:t> user defined functions with Hive: </a:t>
            </a:r>
            <a:r>
              <a:rPr lang="en-US" sz="1800" baseline="0" dirty="0">
                <a:hlinkClick r:id="rId4"/>
              </a:rPr>
              <a:t>https://msdn.microsoft.com/en-us/library/dn749875.aspx?f=255&amp;MSPPError=-2147217396</a:t>
            </a:r>
            <a:r>
              <a:rPr lang="en-US" sz="1800" baseline="0" dirty="0"/>
              <a:t> </a:t>
            </a:r>
          </a:p>
          <a:p>
            <a:pPr marL="342900" indent="-342900">
              <a:buFont typeface="+mj-lt"/>
              <a:buAutoNum type="arabicPeriod"/>
            </a:pPr>
            <a:r>
              <a:rPr lang="en-US" sz="1800" baseline="0" dirty="0"/>
              <a:t>Using Apache </a:t>
            </a:r>
            <a:r>
              <a:rPr lang="en-US" sz="1800" baseline="0" dirty="0" err="1"/>
              <a:t>Tez</a:t>
            </a:r>
            <a:r>
              <a:rPr lang="en-US" sz="1800" baseline="0" dirty="0"/>
              <a:t> for improved performance: </a:t>
            </a:r>
            <a:r>
              <a:rPr lang="en-US" sz="1800" baseline="0" dirty="0">
                <a:hlinkClick r:id="rId5"/>
              </a:rPr>
              <a:t>https://azure.microsoft.com/en-us/documentation/articles/hdinsight-use-hive/#usetez</a:t>
            </a:r>
            <a:r>
              <a:rPr lang="en-US" sz="1800" baseline="0" dirty="0"/>
              <a:t> </a:t>
            </a:r>
          </a:p>
        </p:txBody>
      </p:sp>
      <p:sp>
        <p:nvSpPr>
          <p:cNvPr id="6" name="Slide Number Placeholder 5"/>
          <p:cNvSpPr>
            <a:spLocks noGrp="1"/>
          </p:cNvSpPr>
          <p:nvPr>
            <p:ph type="sldNum" sz="quarter"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861463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hlinkClick r:id="rId3"/>
              </a:rPr>
              <a:t>https://azure.microsoft.com/en-us/documentation/articles/hdinsight-connect-excel-hive-odbc-driver/</a:t>
            </a:r>
            <a:r>
              <a:rPr lang="en-US" dirty="0"/>
              <a:t> </a:t>
            </a: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217373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normAutofit/>
          </a:bodyPr>
          <a:lstStyle/>
          <a:p>
            <a:pPr marL="0" indent="0">
              <a:buFont typeface="Arial" panose="020B0604020202020204" pitchFamily="34" charset="0"/>
              <a:buNone/>
            </a:pPr>
            <a:r>
              <a:rPr lang="en-US" sz="2000" kern="1200" dirty="0">
                <a:solidFill>
                  <a:schemeClr val="tx1"/>
                </a:solidFill>
                <a:effectLst/>
                <a:latin typeface="Segoe UI Light" pitchFamily="34" charset="0"/>
                <a:ea typeface="+mn-ea"/>
                <a:cs typeface="+mn-cs"/>
              </a:rPr>
              <a:t>1.</a:t>
            </a:r>
            <a:r>
              <a:rPr lang="en-US" sz="2000" kern="1200" baseline="0" dirty="0">
                <a:solidFill>
                  <a:schemeClr val="tx1"/>
                </a:solidFill>
                <a:effectLst/>
                <a:latin typeface="Segoe UI Light" pitchFamily="34" charset="0"/>
                <a:ea typeface="+mn-ea"/>
                <a:cs typeface="+mn-cs"/>
              </a:rPr>
              <a:t> Full tutorial on creating Hive Tables: </a:t>
            </a:r>
            <a:r>
              <a:rPr lang="en-US" sz="2000" kern="1200" baseline="0" dirty="0">
                <a:solidFill>
                  <a:schemeClr val="tx1"/>
                </a:solidFill>
                <a:effectLst/>
                <a:latin typeface="Segoe UI Light" pitchFamily="34" charset="0"/>
                <a:ea typeface="+mn-ea"/>
                <a:cs typeface="+mn-cs"/>
                <a:hlinkClick r:id="rId3"/>
              </a:rPr>
              <a:t>https://www.dezyre.com/hadoop-tutorial/apache-hive-tutorial-tables</a:t>
            </a:r>
            <a:r>
              <a:rPr lang="en-US" sz="2000" kern="1200" baseline="0" dirty="0">
                <a:solidFill>
                  <a:schemeClr val="tx1"/>
                </a:solidFill>
                <a:effectLst/>
                <a:latin typeface="Segoe UI Light" pitchFamily="34" charset="0"/>
                <a:ea typeface="+mn-ea"/>
                <a:cs typeface="+mn-cs"/>
              </a:rPr>
              <a:t>  </a:t>
            </a:r>
            <a:endParaRPr lang="en-US" sz="2000" kern="1200" dirty="0">
              <a:solidFill>
                <a:schemeClr val="tx1"/>
              </a:solidFill>
              <a:effectLst/>
              <a:latin typeface="Segoe UI Light" pitchFamily="34" charset="0"/>
              <a:ea typeface="+mn-ea"/>
              <a:cs typeface="+mn-cs"/>
            </a:endParaRPr>
          </a:p>
        </p:txBody>
      </p:sp>
      <p:sp>
        <p:nvSpPr>
          <p:cNvPr id="6" name="Slide Number Placeholder 5"/>
          <p:cNvSpPr>
            <a:spLocks noGrp="1"/>
          </p:cNvSpPr>
          <p:nvPr>
            <p:ph type="sldNum" sz="quarter"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358772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Primary Site: </a:t>
            </a:r>
            <a:r>
              <a:rPr lang="en-US" dirty="0">
                <a:hlinkClick r:id="rId3"/>
              </a:rPr>
              <a:t>https://azure.microsoft.com/en-us/services/data-factory/</a:t>
            </a:r>
            <a:r>
              <a:rPr lang="en-US" dirty="0"/>
              <a:t>  </a:t>
            </a:r>
          </a:p>
          <a:p>
            <a:pPr marL="228600" indent="-228600">
              <a:buFont typeface="+mj-lt"/>
              <a:buAutoNum type="arabicPeriod"/>
            </a:pPr>
            <a:r>
              <a:rPr lang="en-US" dirty="0"/>
              <a:t>2-minute overview video: </a:t>
            </a:r>
            <a:r>
              <a:rPr lang="en-US" dirty="0">
                <a:hlinkClick r:id="rId4"/>
              </a:rPr>
              <a:t>https://channel9.msdn.com/Blogs/Windows-Azure/Introduction-to-Azure-Data-Factory/</a:t>
            </a:r>
            <a:r>
              <a:rPr lang="en-US" dirty="0"/>
              <a:t>  </a:t>
            </a:r>
          </a:p>
          <a:p>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22894844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At the</a:t>
            </a:r>
            <a:r>
              <a:rPr lang="en-US" sz="1800" baseline="0" dirty="0"/>
              <a:t> end of this Module, you will:</a:t>
            </a:r>
          </a:p>
          <a:p>
            <a:pPr marL="445862" lvl="1" indent="-228600">
              <a:buFont typeface="+mj-lt"/>
              <a:buAutoNum type="arabicPeriod"/>
            </a:pPr>
            <a:r>
              <a:rPr lang="en-US" sz="1800" baseline="0" dirty="0"/>
              <a:t>Understand ADF and its constructs</a:t>
            </a:r>
          </a:p>
          <a:p>
            <a:pPr marL="445862" lvl="1" indent="-228600">
              <a:buFont typeface="+mj-lt"/>
              <a:buAutoNum type="arabicPeriod"/>
            </a:pPr>
            <a:r>
              <a:rPr lang="en-US" sz="1800" baseline="0" dirty="0"/>
              <a:t>Implement an ADF Pipeline referencing Data Sources and with various Activities</a:t>
            </a:r>
          </a:p>
          <a:p>
            <a:pPr marL="445862" lvl="1" indent="-228600">
              <a:buFont typeface="+mj-lt"/>
              <a:buAutoNum type="arabicPeriod"/>
            </a:pPr>
            <a:r>
              <a:rPr lang="en-US" sz="1800" baseline="0" dirty="0"/>
              <a:t>Understand how HDInsight can be used to process data</a:t>
            </a:r>
          </a:p>
          <a:p>
            <a:pPr marL="445862" lvl="1" indent="-228600">
              <a:buFont typeface="+mj-lt"/>
              <a:buAutoNum type="arabicPeriod"/>
            </a:pPr>
            <a:r>
              <a:rPr lang="en-US" sz="1800" baseline="0" dirty="0"/>
              <a:t>Understand the HIVE language and how it is used</a:t>
            </a:r>
          </a:p>
          <a:p>
            <a:pPr marL="445862" lvl="1" indent="-228600">
              <a:buFont typeface="+mj-lt"/>
              <a:buAutoNum type="arabicPeriod"/>
            </a:pPr>
            <a:endParaRPr lang="en-US" sz="1800" baseline="0" dirty="0"/>
          </a:p>
          <a:p>
            <a:endParaRPr lang="en-US" sz="1600" dirty="0"/>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14719809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09110"/>
            <a:ext cx="6096000" cy="4149090"/>
          </a:xfrm>
        </p:spPr>
        <p:txBody>
          <a:bodyPr/>
          <a:lstStyle/>
          <a:p>
            <a:pPr marL="228600" marR="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dirty="0"/>
              <a:t>Learning Path: </a:t>
            </a:r>
            <a:r>
              <a:rPr lang="en-US" sz="1800" dirty="0">
                <a:hlinkClick r:id="rId3"/>
              </a:rPr>
              <a:t>https://azure.microsoft.com/en-us/documentation/articles/data-factory-introduction/</a:t>
            </a:r>
            <a:r>
              <a:rPr lang="en-US" sz="1800" dirty="0"/>
              <a:t>  </a:t>
            </a:r>
          </a:p>
          <a:p>
            <a:pPr marL="228600" indent="-228600">
              <a:buFont typeface="+mj-lt"/>
              <a:buAutoNum type="arabicPeriod"/>
            </a:pPr>
            <a:r>
              <a:rPr lang="en-US" sz="1800" baseline="0" dirty="0"/>
              <a:t>Developer Reference: </a:t>
            </a:r>
            <a:r>
              <a:rPr lang="en-US" sz="1800" baseline="0" dirty="0">
                <a:hlinkClick r:id="rId4"/>
              </a:rPr>
              <a:t>https://msdn.microsoft.com/en-us/library/azure/dn834987.aspx</a:t>
            </a:r>
            <a:r>
              <a:rPr lang="en-US" sz="1800" baseline="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95163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297680"/>
            <a:ext cx="6096000" cy="4160520"/>
          </a:xfrm>
        </p:spPr>
        <p:txBody>
          <a:bodyPr/>
          <a:lstStyle/>
          <a:p>
            <a:pPr marL="228600" marR="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baseline="0" dirty="0"/>
              <a:t>Pricing: </a:t>
            </a:r>
            <a:r>
              <a:rPr lang="en-US" sz="1800" baseline="0" dirty="0">
                <a:hlinkClick r:id="rId3"/>
              </a:rPr>
              <a:t>https://azure.microsoft.com/en-us/pricing/details/data-factory/</a:t>
            </a:r>
            <a:r>
              <a:rPr lang="en-US" sz="1800" baseline="0" dirty="0"/>
              <a:t>  </a:t>
            </a:r>
          </a:p>
          <a:p>
            <a:pPr marL="228600" indent="-228600">
              <a:buFont typeface="+mj-lt"/>
              <a:buAutoNum type="arabicPeriod"/>
            </a:pP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8190027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20540"/>
            <a:ext cx="6096000" cy="4137660"/>
          </a:xfrm>
        </p:spPr>
        <p:txBody>
          <a:bodyPr/>
          <a:lstStyle/>
          <a:p>
            <a:pPr marL="228600" indent="-228600">
              <a:buFont typeface="+mj-lt"/>
              <a:buAutoNum type="arabicPeriod"/>
            </a:pPr>
            <a:r>
              <a:rPr lang="en-US" sz="1800" dirty="0"/>
              <a:t>Learning Path: </a:t>
            </a:r>
            <a:r>
              <a:rPr lang="en-US" sz="1800" dirty="0">
                <a:hlinkClick r:id="rId3"/>
              </a:rPr>
              <a:t>https://azure.microsoft.com/en-us/documentation/articles/data-factory-introduction/</a:t>
            </a:r>
            <a:r>
              <a:rPr lang="en-US" sz="1800" dirty="0"/>
              <a:t> </a:t>
            </a:r>
          </a:p>
          <a:p>
            <a:pPr marL="228600" indent="-228600">
              <a:buFont typeface="+mj-lt"/>
              <a:buAutoNum type="arabicPeriod"/>
            </a:pPr>
            <a:r>
              <a:rPr lang="en-US" sz="1800" dirty="0"/>
              <a:t>Quick Example: </a:t>
            </a:r>
            <a:r>
              <a:rPr lang="en-US" sz="1800" dirty="0">
                <a:hlinkClick r:id="rId4"/>
              </a:rPr>
              <a:t>http://azure.microsoft.com/blog/2015/04/24/azure-data-factory-update-simplified-sample-deployment/</a:t>
            </a:r>
            <a:r>
              <a:rPr lang="en-US" sz="180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865633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Full Tutorial: </a:t>
            </a:r>
            <a:r>
              <a:rPr lang="en-US" sz="1800" dirty="0">
                <a:hlinkClick r:id="rId3"/>
              </a:rPr>
              <a:t>https://azure.microsoft.com/en-us/documentation/articles/data-factory-build-your-first-pipeline/</a:t>
            </a:r>
            <a:r>
              <a:rPr lang="en-US" sz="180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9808688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09110"/>
            <a:ext cx="6096000" cy="4149090"/>
          </a:xfrm>
        </p:spPr>
        <p:txBody>
          <a:bodyPr/>
          <a:lstStyle/>
          <a:p>
            <a:pPr marL="228600" indent="-228600">
              <a:buFont typeface="+mj-lt"/>
              <a:buAutoNum type="arabicPeriod"/>
            </a:pPr>
            <a:r>
              <a:rPr lang="en-US" sz="1800" dirty="0">
                <a:hlinkClick r:id="rId3"/>
              </a:rPr>
              <a:t>https://azure.microsoft.com/en-us/documentation/articles/data-factory-customer-profiling-usecase/</a:t>
            </a:r>
            <a:r>
              <a:rPr lang="en-US" sz="180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7741772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297680"/>
            <a:ext cx="6096000" cy="4206240"/>
          </a:xfrm>
        </p:spPr>
        <p:txBody>
          <a:bodyPr/>
          <a:lstStyle/>
          <a:p>
            <a:pPr marL="228600" indent="-228600">
              <a:buFont typeface="+mj-lt"/>
              <a:buAutoNum type="arabicPeriod"/>
            </a:pPr>
            <a:r>
              <a:rPr lang="en-US" sz="1800" dirty="0"/>
              <a:t>Video of this process: </a:t>
            </a:r>
            <a:r>
              <a:rPr lang="en-US" sz="1800" dirty="0">
                <a:hlinkClick r:id="rId3"/>
              </a:rPr>
              <a:t>https://azure.microsoft.com/en-us/documentation/videos/azure-data-factory-102-analyzing-complex-churn-models-with-azure-data-factory/</a:t>
            </a:r>
            <a:r>
              <a:rPr lang="en-US" sz="180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4338545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286250"/>
            <a:ext cx="6096000" cy="4171950"/>
          </a:xfrm>
        </p:spPr>
        <p:txBody>
          <a:bodyPr/>
          <a:lstStyle/>
          <a:p>
            <a:pPr marL="228600" indent="-228600">
              <a:buFont typeface="+mj-lt"/>
              <a:buAutoNum type="arabicPeriod"/>
            </a:pPr>
            <a:r>
              <a:rPr lang="en-US" sz="1800" baseline="0" dirty="0"/>
              <a:t>More options: Prepare System: </a:t>
            </a:r>
            <a:r>
              <a:rPr lang="en-US" dirty="0">
                <a:hlinkClick r:id="rId3"/>
              </a:rPr>
              <a:t>https://azure.microsoft.com/en-us/documentation/articles/data-factory-build-your-first-pipeline-using-editor/</a:t>
            </a:r>
            <a:r>
              <a:rPr lang="en-US" dirty="0"/>
              <a:t>  - </a:t>
            </a:r>
            <a:r>
              <a:rPr lang="en-US" sz="1800" baseline="0" dirty="0"/>
              <a:t>Follow steps</a:t>
            </a:r>
          </a:p>
          <a:p>
            <a:pPr marL="228600" indent="-228600">
              <a:buFont typeface="+mj-lt"/>
              <a:buAutoNum type="arabicPeriod"/>
            </a:pPr>
            <a:r>
              <a:rPr lang="en-US" sz="1800" baseline="0" dirty="0"/>
              <a:t>Another Lab: </a:t>
            </a:r>
            <a:r>
              <a:rPr lang="en-US" sz="1800" baseline="0" dirty="0">
                <a:hlinkClick r:id="rId4"/>
              </a:rPr>
              <a:t>https://azure.microsoft.com/en-us/documentation/articles/data-factory-samples/</a:t>
            </a:r>
            <a:r>
              <a:rPr lang="en-US" sz="1800" baseline="0" dirty="0"/>
              <a:t>  </a:t>
            </a:r>
            <a:endParaRPr lang="en-US" sz="1800" dirty="0"/>
          </a:p>
          <a:p>
            <a:pPr marL="228600" indent="-228600">
              <a:buFont typeface="+mj-lt"/>
              <a:buAutoNum type="arabicPeriod"/>
            </a:pP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0182104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20540"/>
            <a:ext cx="6096000" cy="4137660"/>
          </a:xfrm>
        </p:spPr>
        <p:txBody>
          <a:bodyPr/>
          <a:lstStyle/>
          <a:p>
            <a:pPr marL="228600" indent="-228600">
              <a:buFont typeface="+mj-lt"/>
              <a:buAutoNum type="arabicPeriod"/>
            </a:pPr>
            <a:r>
              <a:rPr lang="en-US" sz="1800" dirty="0"/>
              <a:t>Setting Up: </a:t>
            </a:r>
            <a:r>
              <a:rPr lang="en-US" sz="1800" dirty="0">
                <a:hlinkClick r:id="rId3"/>
              </a:rPr>
              <a:t>https://azure.microsoft.com/en-us/documentation/articles/data-factory-build-your-first-pipeline/</a:t>
            </a:r>
            <a:r>
              <a:rPr lang="en-US" sz="180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5729960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Overview: </a:t>
            </a:r>
            <a:r>
              <a:rPr lang="en-US" sz="1800" dirty="0">
                <a:hlinkClick r:id="rId3"/>
              </a:rPr>
              <a:t>https://azure.microsoft.com/en-us/documentation/articles/data-factory-build-your-first-pipeline/</a:t>
            </a:r>
            <a:r>
              <a:rPr lang="en-US" sz="1800" dirty="0"/>
              <a:t>  </a:t>
            </a:r>
          </a:p>
          <a:p>
            <a:pPr marL="228600" indent="-228600">
              <a:buFont typeface="+mj-lt"/>
              <a:buAutoNum type="arabicPeriod"/>
            </a:pPr>
            <a:r>
              <a:rPr lang="en-US" sz="1800" dirty="0"/>
              <a:t>Using the Portal: </a:t>
            </a:r>
            <a:r>
              <a:rPr lang="en-US" sz="1800" dirty="0">
                <a:hlinkClick r:id="rId4"/>
              </a:rPr>
              <a:t>https://azure.microsoft.com/en-us/documentation/articles/data-factory-build-your-first-pipeline-using-editor/</a:t>
            </a:r>
            <a:r>
              <a:rPr lang="en-US" sz="180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8649629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20540"/>
            <a:ext cx="6096000" cy="4137660"/>
          </a:xfrm>
        </p:spPr>
        <p:txBody>
          <a:bodyPr/>
          <a:lstStyle/>
          <a:p>
            <a:pPr marL="228600" indent="-228600">
              <a:buFont typeface="+mj-lt"/>
              <a:buAutoNum type="arabicPeriod"/>
            </a:pPr>
            <a:r>
              <a:rPr lang="en-US" sz="1800" dirty="0"/>
              <a:t>Learning Path: </a:t>
            </a:r>
            <a:r>
              <a:rPr lang="en-US" sz="1800" dirty="0">
                <a:hlinkClick r:id="rId3"/>
              </a:rPr>
              <a:t>https://azure.microsoft.com/en-us/documentation/articles/data-factory-introduction/</a:t>
            </a:r>
            <a:r>
              <a:rPr lang="en-US" sz="1800" dirty="0"/>
              <a:t> </a:t>
            </a:r>
          </a:p>
          <a:p>
            <a:pPr marL="228600" indent="-228600">
              <a:buFont typeface="+mj-lt"/>
              <a:buAutoNum type="arabicPeriod"/>
            </a:pPr>
            <a:r>
              <a:rPr lang="en-US" sz="1800" dirty="0"/>
              <a:t>Full Tutorial: </a:t>
            </a:r>
            <a:r>
              <a:rPr lang="en-US" sz="1800" dirty="0">
                <a:hlinkClick r:id="rId4"/>
              </a:rPr>
              <a:t>https://azure.microsoft.com/en-us/documentation/articles/data-factory-build-your-first-pipeline/</a:t>
            </a:r>
            <a:r>
              <a:rPr lang="en-US" sz="180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712224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BD414F0-F277-4E0B-80A8-3A8C68434D4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01112676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hlinkClick r:id="rId3"/>
              </a:rPr>
              <a:t>https://azure.microsoft.com/en-us/documentation/articles/data-factory-build-your-first-pipeline-using-powershell/</a:t>
            </a:r>
            <a:r>
              <a:rPr lang="en-US" sz="180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3757276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20540"/>
            <a:ext cx="6096000" cy="4171950"/>
          </a:xfrm>
        </p:spPr>
        <p:txBody>
          <a:bodyPr/>
          <a:lstStyle/>
          <a:p>
            <a:pPr marL="228600" indent="-228600">
              <a:buFont typeface="+mj-lt"/>
              <a:buAutoNum type="arabicPeriod"/>
            </a:pPr>
            <a:r>
              <a:rPr lang="en-US" sz="1800" dirty="0"/>
              <a:t>Overview: </a:t>
            </a:r>
            <a:r>
              <a:rPr lang="en-US" sz="1800" dirty="0">
                <a:hlinkClick r:id="rId3"/>
              </a:rPr>
              <a:t>https://azure.microsoft.com/en-us/documentation/articles/data-factory-build-your-first-pipeline/</a:t>
            </a:r>
            <a:r>
              <a:rPr lang="en-US" sz="1800" dirty="0"/>
              <a:t>  </a:t>
            </a:r>
          </a:p>
          <a:p>
            <a:pPr marL="228600" indent="-228600">
              <a:buFont typeface="+mj-lt"/>
              <a:buAutoNum type="arabicPeriod"/>
            </a:pPr>
            <a:r>
              <a:rPr lang="en-US" sz="1800" dirty="0"/>
              <a:t>Using the Portal: </a:t>
            </a:r>
            <a:r>
              <a:rPr lang="en-US" sz="1800" dirty="0">
                <a:hlinkClick r:id="rId4"/>
              </a:rPr>
              <a:t>https://azure.microsoft.com/en-us/documentation/articles/data-factory-build-your-first-pipeline-using-editor/</a:t>
            </a:r>
            <a:r>
              <a:rPr lang="en-US" sz="180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3189070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Open the </a:t>
            </a:r>
            <a:r>
              <a:rPr lang="en-US" sz="1800" b="1" kern="1200" dirty="0">
                <a:solidFill>
                  <a:schemeClr val="tx1"/>
                </a:solidFill>
                <a:latin typeface="Segoe UI Light" pitchFamily="34" charset="0"/>
                <a:ea typeface="+mn-ea"/>
                <a:cs typeface="+mn-cs"/>
              </a:rPr>
              <a:t>ADF Student Workbook </a:t>
            </a:r>
            <a:r>
              <a:rPr lang="en-US" sz="1800" kern="1200" dirty="0">
                <a:solidFill>
                  <a:schemeClr val="tx1"/>
                </a:solidFill>
                <a:latin typeface="Segoe UI Light" pitchFamily="34" charset="0"/>
                <a:ea typeface="+mn-ea"/>
                <a:cs typeface="+mn-cs"/>
              </a:rPr>
              <a:t>file from your \Resources folder</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Follow the steps for </a:t>
            </a:r>
            <a:r>
              <a:rPr lang="en-US" sz="1800" b="1" kern="1200" dirty="0">
                <a:solidFill>
                  <a:schemeClr val="tx1"/>
                </a:solidFill>
                <a:latin typeface="Segoe UI Light" pitchFamily="34" charset="0"/>
                <a:ea typeface="+mn-ea"/>
                <a:cs typeface="+mn-cs"/>
              </a:rPr>
              <a:t>Lab 1</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The follow the steps for </a:t>
            </a:r>
            <a:r>
              <a:rPr lang="en-US" sz="1800" b="1" kern="1200" dirty="0">
                <a:solidFill>
                  <a:schemeClr val="tx1"/>
                </a:solidFill>
                <a:latin typeface="Segoe UI Light" pitchFamily="34" charset="0"/>
                <a:ea typeface="+mn-ea"/>
                <a:cs typeface="+mn-cs"/>
              </a:rPr>
              <a:t>Lab 2</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b="0" kern="1200" dirty="0">
                <a:solidFill>
                  <a:schemeClr val="tx1"/>
                </a:solidFill>
                <a:latin typeface="Segoe UI Light" pitchFamily="34" charset="0"/>
                <a:ea typeface="+mn-ea"/>
                <a:cs typeface="+mn-cs"/>
              </a:rPr>
              <a:t>Note – There’s a useful </a:t>
            </a:r>
            <a:r>
              <a:rPr lang="en-US" sz="1800" b="0" kern="1200">
                <a:solidFill>
                  <a:schemeClr val="tx1"/>
                </a:solidFill>
                <a:latin typeface="Segoe UI Light" pitchFamily="34" charset="0"/>
                <a:ea typeface="+mn-ea"/>
                <a:cs typeface="+mn-cs"/>
              </a:rPr>
              <a:t>JSON validator/formatter</a:t>
            </a:r>
            <a:r>
              <a:rPr lang="en-US" sz="1800" b="0" kern="1200" baseline="0">
                <a:solidFill>
                  <a:schemeClr val="tx1"/>
                </a:solidFill>
                <a:latin typeface="Segoe UI Light" pitchFamily="34" charset="0"/>
                <a:ea typeface="+mn-ea"/>
                <a:cs typeface="+mn-cs"/>
              </a:rPr>
              <a:t> </a:t>
            </a:r>
            <a:r>
              <a:rPr lang="en-US" sz="1800" b="0" kern="1200" baseline="0" dirty="0">
                <a:solidFill>
                  <a:schemeClr val="tx1"/>
                </a:solidFill>
                <a:latin typeface="Segoe UI Light" pitchFamily="34" charset="0"/>
                <a:ea typeface="+mn-ea"/>
                <a:cs typeface="+mn-cs"/>
              </a:rPr>
              <a:t>here: </a:t>
            </a:r>
            <a:r>
              <a:rPr lang="en-US" sz="1800" b="0" u="sng" kern="1200" dirty="0">
                <a:solidFill>
                  <a:schemeClr val="tx1"/>
                </a:solidFill>
                <a:effectLst/>
                <a:latin typeface="Segoe UI Light" pitchFamily="34" charset="0"/>
                <a:ea typeface="+mn-ea"/>
                <a:cs typeface="+mn-cs"/>
              </a:rPr>
              <a:t>https://jsonformatter.curiousconcept.com/</a:t>
            </a:r>
            <a:endParaRPr lang="en-US" sz="1800" b="0" kern="1200" dirty="0">
              <a:solidFill>
                <a:schemeClr val="tx1"/>
              </a:solidFill>
              <a:effectLst/>
              <a:latin typeface="Segoe UI Light"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94910170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09110"/>
            <a:ext cx="6096000" cy="4149090"/>
          </a:xfrm>
        </p:spPr>
        <p:txBody>
          <a:bodyPr/>
          <a:lstStyle/>
          <a:p>
            <a:pPr marL="228600" indent="-228600">
              <a:buFont typeface="+mj-lt"/>
              <a:buAutoNum type="arabicPeriod"/>
            </a:pPr>
            <a:r>
              <a:rPr lang="en-US" sz="1800" dirty="0"/>
              <a:t>Data Linking:</a:t>
            </a:r>
            <a:r>
              <a:rPr lang="en-US" sz="1800" baseline="0" dirty="0"/>
              <a:t> </a:t>
            </a:r>
            <a:r>
              <a:rPr lang="en-US" sz="1800" baseline="0" dirty="0">
                <a:hlinkClick r:id="rId3"/>
              </a:rPr>
              <a:t>https://azure.microsoft.com/en-us/documentation/articles/data-factory-data-movement-activities/</a:t>
            </a:r>
            <a:r>
              <a:rPr lang="en-US" sz="1800" baseline="0" dirty="0"/>
              <a:t>   </a:t>
            </a:r>
          </a:p>
          <a:p>
            <a:pPr marL="228600" indent="-228600">
              <a:buFont typeface="+mj-lt"/>
              <a:buAutoNum type="arabicPeriod"/>
            </a:pPr>
            <a:r>
              <a:rPr lang="en-US" sz="1800" baseline="0" dirty="0"/>
              <a:t>Compute Linking: </a:t>
            </a:r>
            <a:r>
              <a:rPr lang="en-US" sz="1800" baseline="0" dirty="0">
                <a:hlinkClick r:id="rId4"/>
              </a:rPr>
              <a:t>https://azure.microsoft.com/en-us/documentation/articles/data-factory-compute-linked-services/</a:t>
            </a:r>
            <a:r>
              <a:rPr lang="en-US" sz="1800" baseline="0" dirty="0"/>
              <a:t>  </a:t>
            </a: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0524073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09110"/>
            <a:ext cx="6096000" cy="4149090"/>
          </a:xfrm>
        </p:spPr>
        <p:txBody>
          <a:bodyPr/>
          <a:lstStyle/>
          <a:p>
            <a:pPr marL="228600" indent="-228600">
              <a:buFont typeface="+mj-lt"/>
              <a:buAutoNum type="arabicPeriod"/>
            </a:pPr>
            <a:r>
              <a:rPr lang="en-US" sz="1800" dirty="0"/>
              <a:t>Data Movement requirements: </a:t>
            </a:r>
            <a:r>
              <a:rPr lang="en-US" sz="1800" dirty="0">
                <a:hlinkClick r:id="rId3"/>
              </a:rPr>
              <a:t>https://azure.microsoft.com/en-us/documentation/articles/data-factory-data-movement-activities/</a:t>
            </a:r>
            <a:r>
              <a:rPr lang="en-US" sz="1800" dirty="0"/>
              <a:t>  </a:t>
            </a:r>
          </a:p>
          <a:p>
            <a:pPr marL="228600" indent="-228600">
              <a:buFont typeface="+mj-lt"/>
              <a:buAutoNum type="arabicPeriod"/>
            </a:pPr>
            <a:r>
              <a:rPr lang="en-US" sz="1800" dirty="0"/>
              <a:t>From on-premises, requires Data Management Gateway: </a:t>
            </a:r>
            <a:r>
              <a:rPr lang="en-US" sz="1800" dirty="0">
                <a:hlinkClick r:id="rId4"/>
              </a:rPr>
              <a:t>https://azure.microsoft.com/en-us/documentation/articles/data-factory-move-data-between-onprem-and-cloud/</a:t>
            </a:r>
            <a:r>
              <a:rPr lang="en-US" sz="1800" dirty="0"/>
              <a:t>  </a:t>
            </a:r>
          </a:p>
          <a:p>
            <a:pPr marL="228600" indent="-228600">
              <a:buFont typeface="+mj-lt"/>
              <a:buAutoNum type="arabicPeriod"/>
            </a:pP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3890880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09110"/>
            <a:ext cx="6096000" cy="4149090"/>
          </a:xfrm>
        </p:spPr>
        <p:txBody>
          <a:bodyPr/>
          <a:lstStyle/>
          <a:p>
            <a:pPr marL="228600" marR="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dirty="0"/>
              <a:t>Main </a:t>
            </a:r>
            <a:r>
              <a:rPr lang="en-US" sz="1800" baseline="0" dirty="0"/>
              <a:t>Document Site: </a:t>
            </a:r>
            <a:r>
              <a:rPr lang="en-US" sz="1800" baseline="0" dirty="0">
                <a:hlinkClick r:id="rId3"/>
              </a:rPr>
              <a:t>https://azure.microsoft.com/en-us/documentation/articles/data-factory-data-transformation-activities/</a:t>
            </a:r>
            <a:r>
              <a:rPr lang="en-US" sz="1800" baseline="0" dirty="0"/>
              <a:t>  </a:t>
            </a:r>
            <a:endParaRPr lang="en-US" sz="1800" dirty="0"/>
          </a:p>
          <a:p>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9052475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274820"/>
            <a:ext cx="6096000" cy="4183380"/>
          </a:xfrm>
        </p:spPr>
        <p:txBody>
          <a:bodyPr/>
          <a:lstStyle/>
          <a:p>
            <a:pPr marL="228600" indent="-228600">
              <a:buFont typeface="+mj-lt"/>
              <a:buAutoNum type="arabicPeriod"/>
            </a:pPr>
            <a:r>
              <a:rPr lang="en-US" sz="1600" dirty="0"/>
              <a:t>Activities:</a:t>
            </a:r>
            <a:r>
              <a:rPr lang="en-US" sz="1600" baseline="0" dirty="0"/>
              <a:t> </a:t>
            </a:r>
            <a:r>
              <a:rPr lang="en-US" sz="1600" dirty="0">
                <a:hlinkClick r:id="rId3"/>
              </a:rPr>
              <a:t>https://azure.microsoft.com/en-us/documentation/articles/data-factory-create-pipelines/</a:t>
            </a:r>
            <a:r>
              <a:rPr lang="en-US" sz="1600" dirty="0"/>
              <a:t> </a:t>
            </a:r>
          </a:p>
          <a:p>
            <a:pPr marL="228600" indent="-228600">
              <a:buFont typeface="+mj-lt"/>
              <a:buAutoNum type="arabicPeriod"/>
            </a:pPr>
            <a:endParaRPr lang="en-US" sz="1600" dirty="0"/>
          </a:p>
          <a:p>
            <a:pPr marL="0" indent="0">
              <a:buFont typeface="+mj-lt"/>
              <a:buNone/>
            </a:pPr>
            <a:r>
              <a:rPr lang="en-US" sz="1600" dirty="0"/>
              <a:t>CreateHDICluster.txt:</a:t>
            </a:r>
          </a:p>
          <a:p>
            <a:pPr marL="0" indent="0">
              <a:buFont typeface="+mj-lt"/>
              <a:buNone/>
            </a:pPr>
            <a:r>
              <a:rPr lang="en-US" sz="1600" dirty="0"/>
              <a:t>{</a:t>
            </a:r>
          </a:p>
          <a:p>
            <a:pPr marL="0" indent="0">
              <a:buFont typeface="+mj-lt"/>
              <a:buNone/>
            </a:pPr>
            <a:r>
              <a:rPr lang="en-US" sz="1600" dirty="0"/>
              <a:t>  "name": "</a:t>
            </a:r>
            <a:r>
              <a:rPr lang="en-US" sz="1600" dirty="0" err="1"/>
              <a:t>HDInsightOnDemandLinkedService</a:t>
            </a:r>
            <a:r>
              <a:rPr lang="en-US" sz="1600" dirty="0"/>
              <a:t>",</a:t>
            </a:r>
          </a:p>
          <a:p>
            <a:pPr marL="0" indent="0">
              <a:buFont typeface="+mj-lt"/>
              <a:buNone/>
            </a:pPr>
            <a:r>
              <a:rPr lang="en-US" sz="1600" dirty="0"/>
              <a:t>  "properties": {</a:t>
            </a:r>
          </a:p>
          <a:p>
            <a:pPr marL="0" indent="0">
              <a:buFont typeface="+mj-lt"/>
              <a:buNone/>
            </a:pPr>
            <a:r>
              <a:rPr lang="en-US" sz="1600" dirty="0"/>
              <a:t>    "type": "</a:t>
            </a:r>
            <a:r>
              <a:rPr lang="en-US" sz="1600" dirty="0" err="1"/>
              <a:t>HDInsightOnDemand</a:t>
            </a:r>
            <a:r>
              <a:rPr lang="en-US" sz="1600" dirty="0"/>
              <a:t>",</a:t>
            </a:r>
          </a:p>
          <a:p>
            <a:pPr marL="0" indent="0">
              <a:buFont typeface="+mj-lt"/>
              <a:buNone/>
            </a:pPr>
            <a:r>
              <a:rPr lang="en-US" sz="1600" dirty="0"/>
              <a:t>    "</a:t>
            </a:r>
            <a:r>
              <a:rPr lang="en-US" sz="1600" dirty="0" err="1"/>
              <a:t>typeProperties</a:t>
            </a:r>
            <a:r>
              <a:rPr lang="en-US" sz="1600" dirty="0"/>
              <a:t>": {</a:t>
            </a:r>
          </a:p>
          <a:p>
            <a:pPr marL="0" indent="0">
              <a:buFont typeface="+mj-lt"/>
              <a:buNone/>
            </a:pPr>
            <a:r>
              <a:rPr lang="en-US" sz="1600" dirty="0"/>
              <a:t>      "version": "3.1",</a:t>
            </a:r>
          </a:p>
          <a:p>
            <a:pPr marL="0" indent="0">
              <a:buFont typeface="+mj-lt"/>
              <a:buNone/>
            </a:pPr>
            <a:r>
              <a:rPr lang="en-US" sz="1600" dirty="0"/>
              <a:t>      "</a:t>
            </a:r>
            <a:r>
              <a:rPr lang="en-US" sz="1600" dirty="0" err="1"/>
              <a:t>clusterSize</a:t>
            </a:r>
            <a:r>
              <a:rPr lang="en-US" sz="1600" dirty="0"/>
              <a:t>": 1,</a:t>
            </a:r>
          </a:p>
          <a:p>
            <a:pPr marL="0" indent="0">
              <a:buFont typeface="+mj-lt"/>
              <a:buNone/>
            </a:pPr>
            <a:r>
              <a:rPr lang="en-US" sz="1600" dirty="0"/>
              <a:t>      "</a:t>
            </a:r>
            <a:r>
              <a:rPr lang="en-US" sz="1600" dirty="0" err="1"/>
              <a:t>timeToLive</a:t>
            </a:r>
            <a:r>
              <a:rPr lang="en-US" sz="1600" dirty="0"/>
              <a:t>": "00:30:00",</a:t>
            </a:r>
          </a:p>
          <a:p>
            <a:pPr marL="0" indent="0">
              <a:buFont typeface="+mj-lt"/>
              <a:buNone/>
            </a:pPr>
            <a:r>
              <a:rPr lang="en-US" sz="1600" dirty="0"/>
              <a:t>      "</a:t>
            </a:r>
            <a:r>
              <a:rPr lang="en-US" sz="1600" dirty="0" err="1"/>
              <a:t>linkedServiceName</a:t>
            </a:r>
            <a:r>
              <a:rPr lang="en-US" sz="1600" dirty="0"/>
              <a:t>": “</a:t>
            </a:r>
            <a:r>
              <a:rPr lang="en-US" sz="1600" dirty="0" err="1"/>
              <a:t>AzureStorageLinkedService</a:t>
            </a:r>
            <a:r>
              <a:rPr lang="en-US" sz="1600" dirty="0"/>
              <a:t>"</a:t>
            </a:r>
          </a:p>
          <a:p>
            <a:pPr marL="0" indent="0">
              <a:buFont typeface="+mj-lt"/>
              <a:buNone/>
            </a:pPr>
            <a:r>
              <a:rPr lang="en-US" sz="1600" dirty="0"/>
              <a:t>    }</a:t>
            </a:r>
          </a:p>
          <a:p>
            <a:pPr marL="0" indent="0">
              <a:buFont typeface="+mj-lt"/>
              <a:buNone/>
            </a:pPr>
            <a:r>
              <a:rPr lang="en-US" sz="1600" dirty="0"/>
              <a:t>  }</a:t>
            </a:r>
          </a:p>
          <a:p>
            <a:pPr marL="0" indent="0">
              <a:buFont typeface="+mj-lt"/>
              <a:buNone/>
            </a:pPr>
            <a:r>
              <a:rPr lang="en-US" sz="1600" dirty="0"/>
              <a:t>}</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4014824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Open the </a:t>
            </a:r>
            <a:r>
              <a:rPr lang="en-US" sz="1800" b="1" kern="1200" dirty="0">
                <a:solidFill>
                  <a:schemeClr val="tx1"/>
                </a:solidFill>
                <a:latin typeface="Segoe UI Light" pitchFamily="34" charset="0"/>
                <a:ea typeface="+mn-ea"/>
                <a:cs typeface="+mn-cs"/>
              </a:rPr>
              <a:t>ADF Student Workbook </a:t>
            </a:r>
            <a:r>
              <a:rPr lang="en-US" sz="1800" kern="1200" dirty="0">
                <a:solidFill>
                  <a:schemeClr val="tx1"/>
                </a:solidFill>
                <a:latin typeface="Segoe UI Light" pitchFamily="34" charset="0"/>
                <a:ea typeface="+mn-ea"/>
                <a:cs typeface="+mn-cs"/>
              </a:rPr>
              <a:t>file from your \Resources folder</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Follow the steps for Lab 3</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73661001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274820"/>
            <a:ext cx="6096000" cy="4183380"/>
          </a:xfrm>
        </p:spPr>
        <p:txBody>
          <a:bodyPr/>
          <a:lstStyle/>
          <a:p>
            <a:pPr marL="228600" indent="-228600">
              <a:buFont typeface="+mj-lt"/>
              <a:buAutoNum type="arabicPeriod"/>
            </a:pPr>
            <a:r>
              <a:rPr lang="en-US" sz="1800" dirty="0"/>
              <a:t>Main Dataset</a:t>
            </a:r>
            <a:r>
              <a:rPr lang="en-US" sz="1800" baseline="0" dirty="0"/>
              <a:t> </a:t>
            </a:r>
            <a:r>
              <a:rPr lang="en-US" sz="1800" dirty="0"/>
              <a:t>Document Site:</a:t>
            </a:r>
            <a:r>
              <a:rPr lang="en-US" sz="1800" baseline="0" dirty="0"/>
              <a:t> </a:t>
            </a:r>
            <a:r>
              <a:rPr lang="en-US" sz="1800" baseline="0" dirty="0">
                <a:hlinkClick r:id="rId3"/>
              </a:rPr>
              <a:t>https://azure.microsoft.com/en-us/documentation/articles/data-factory-create-datasets/</a:t>
            </a:r>
            <a:r>
              <a:rPr lang="en-US" sz="1800" baseline="0" dirty="0"/>
              <a:t>  </a:t>
            </a: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4791962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hlinkClick r:id="rId3"/>
              </a:rPr>
              <a:t>https://azure.microsoft.com/en-us/documentation/articles/data-factory-build-your-first-pipeline-using-editor/</a:t>
            </a:r>
            <a:r>
              <a:rPr lang="en-US" dirty="0"/>
              <a:t> </a:t>
            </a:r>
          </a:p>
          <a:p>
            <a:pPr marL="228600" indent="-228600">
              <a:buFont typeface="+mj-lt"/>
              <a:buAutoNum type="arabicPeriod"/>
            </a:pPr>
            <a:endParaRPr lang="en-US" dirty="0"/>
          </a:p>
          <a:p>
            <a:pPr marL="0" indent="0">
              <a:buFont typeface="+mj-lt"/>
              <a:buNone/>
            </a:pPr>
            <a:r>
              <a:rPr lang="en-US" sz="900" dirty="0"/>
              <a:t>AzureBlobOutput.txt:</a:t>
            </a:r>
          </a:p>
          <a:p>
            <a:pPr marL="0" indent="0">
              <a:buFont typeface="+mj-lt"/>
              <a:buNone/>
            </a:pPr>
            <a:r>
              <a:rPr lang="en-US" sz="900" dirty="0"/>
              <a:t>{</a:t>
            </a:r>
          </a:p>
          <a:p>
            <a:pPr marL="0" indent="0">
              <a:buFont typeface="+mj-lt"/>
              <a:buNone/>
            </a:pPr>
            <a:r>
              <a:rPr lang="en-US" sz="900" dirty="0"/>
              <a:t>  "name": "</a:t>
            </a:r>
            <a:r>
              <a:rPr lang="en-US" sz="900" dirty="0" err="1"/>
              <a:t>AzureBlobOutput</a:t>
            </a:r>
            <a:r>
              <a:rPr lang="en-US" sz="900" dirty="0"/>
              <a:t>",</a:t>
            </a:r>
          </a:p>
          <a:p>
            <a:pPr marL="0" indent="0">
              <a:buFont typeface="+mj-lt"/>
              <a:buNone/>
            </a:pPr>
            <a:r>
              <a:rPr lang="en-US" sz="900" dirty="0"/>
              <a:t>  "properties": {</a:t>
            </a:r>
          </a:p>
          <a:p>
            <a:pPr marL="0" indent="0">
              <a:buFont typeface="+mj-lt"/>
              <a:buNone/>
            </a:pPr>
            <a:r>
              <a:rPr lang="en-US" sz="900" dirty="0"/>
              <a:t>    "type": "</a:t>
            </a:r>
            <a:r>
              <a:rPr lang="en-US" sz="900" dirty="0" err="1"/>
              <a:t>AzureBlob</a:t>
            </a:r>
            <a:r>
              <a:rPr lang="en-US" sz="900" dirty="0"/>
              <a:t>",</a:t>
            </a:r>
          </a:p>
          <a:p>
            <a:pPr marL="0" indent="0">
              <a:buFont typeface="+mj-lt"/>
              <a:buNone/>
            </a:pPr>
            <a:r>
              <a:rPr lang="en-US" sz="900" dirty="0"/>
              <a:t>    "</a:t>
            </a:r>
            <a:r>
              <a:rPr lang="en-US" sz="900" dirty="0" err="1"/>
              <a:t>linkedServiceName</a:t>
            </a:r>
            <a:r>
              <a:rPr lang="en-US" sz="900" dirty="0"/>
              <a:t>": "</a:t>
            </a:r>
            <a:r>
              <a:rPr lang="en-US" sz="900" dirty="0" err="1"/>
              <a:t>StorageLinkedService</a:t>
            </a:r>
            <a:r>
              <a:rPr lang="en-US" sz="900" dirty="0"/>
              <a:t>",</a:t>
            </a:r>
          </a:p>
          <a:p>
            <a:pPr marL="0" indent="0">
              <a:buFont typeface="+mj-lt"/>
              <a:buNone/>
            </a:pPr>
            <a:r>
              <a:rPr lang="en-US" sz="900" dirty="0"/>
              <a:t>    "</a:t>
            </a:r>
            <a:r>
              <a:rPr lang="en-US" sz="900" dirty="0" err="1"/>
              <a:t>typeProperties</a:t>
            </a:r>
            <a:r>
              <a:rPr lang="en-US" sz="900" dirty="0"/>
              <a:t>": {</a:t>
            </a:r>
          </a:p>
          <a:p>
            <a:pPr marL="0" indent="0">
              <a:buFont typeface="+mj-lt"/>
              <a:buNone/>
            </a:pPr>
            <a:r>
              <a:rPr lang="en-US" sz="900" dirty="0"/>
              <a:t>      "</a:t>
            </a:r>
            <a:r>
              <a:rPr lang="en-US" sz="900" dirty="0" err="1"/>
              <a:t>folderPath</a:t>
            </a:r>
            <a:r>
              <a:rPr lang="en-US" sz="900" dirty="0"/>
              <a:t>": "data/</a:t>
            </a:r>
            <a:r>
              <a:rPr lang="en-US" sz="900" dirty="0" err="1"/>
              <a:t>partitioneddata</a:t>
            </a:r>
            <a:r>
              <a:rPr lang="en-US" sz="900" dirty="0"/>
              <a:t>",</a:t>
            </a:r>
          </a:p>
          <a:p>
            <a:pPr marL="0" indent="0">
              <a:buFont typeface="+mj-lt"/>
              <a:buNone/>
            </a:pPr>
            <a:r>
              <a:rPr lang="en-US" sz="900" dirty="0"/>
              <a:t>      "format": {</a:t>
            </a:r>
          </a:p>
          <a:p>
            <a:pPr marL="0" indent="0">
              <a:buFont typeface="+mj-lt"/>
              <a:buNone/>
            </a:pPr>
            <a:r>
              <a:rPr lang="en-US" sz="900" dirty="0"/>
              <a:t>        "type": "</a:t>
            </a:r>
            <a:r>
              <a:rPr lang="en-US" sz="900" dirty="0" err="1"/>
              <a:t>TextFormat</a:t>
            </a:r>
            <a:r>
              <a:rPr lang="en-US" sz="900" dirty="0"/>
              <a:t>",</a:t>
            </a:r>
          </a:p>
          <a:p>
            <a:pPr marL="0" indent="0">
              <a:buFont typeface="+mj-lt"/>
              <a:buNone/>
            </a:pPr>
            <a:r>
              <a:rPr lang="en-US" sz="900" dirty="0"/>
              <a:t>        "</a:t>
            </a:r>
            <a:r>
              <a:rPr lang="en-US" sz="900" dirty="0" err="1"/>
              <a:t>columnDelimiter</a:t>
            </a:r>
            <a:r>
              <a:rPr lang="en-US" sz="900" dirty="0"/>
              <a:t>": ","</a:t>
            </a:r>
          </a:p>
          <a:p>
            <a:pPr marL="0" indent="0">
              <a:buFont typeface="+mj-lt"/>
              <a:buNone/>
            </a:pPr>
            <a:r>
              <a:rPr lang="en-US" sz="900" dirty="0"/>
              <a:t>      }</a:t>
            </a:r>
          </a:p>
          <a:p>
            <a:pPr marL="0" indent="0">
              <a:buFont typeface="+mj-lt"/>
              <a:buNone/>
            </a:pPr>
            <a:r>
              <a:rPr lang="en-US" sz="900" dirty="0"/>
              <a:t>    },</a:t>
            </a:r>
          </a:p>
          <a:p>
            <a:pPr marL="0" indent="0">
              <a:buFont typeface="+mj-lt"/>
              <a:buNone/>
            </a:pPr>
            <a:r>
              <a:rPr lang="en-US" sz="900" dirty="0"/>
              <a:t>    "availability": {</a:t>
            </a:r>
          </a:p>
          <a:p>
            <a:pPr marL="0" indent="0">
              <a:buFont typeface="+mj-lt"/>
              <a:buNone/>
            </a:pPr>
            <a:r>
              <a:rPr lang="en-US" sz="900" dirty="0"/>
              <a:t>      "frequency": "Month",</a:t>
            </a:r>
          </a:p>
          <a:p>
            <a:pPr marL="0" indent="0">
              <a:buFont typeface="+mj-lt"/>
              <a:buNone/>
            </a:pPr>
            <a:r>
              <a:rPr lang="en-US" sz="900" dirty="0"/>
              <a:t>      "interval": 1</a:t>
            </a:r>
          </a:p>
          <a:p>
            <a:pPr marL="0" indent="0">
              <a:buFont typeface="+mj-lt"/>
              <a:buNone/>
            </a:pPr>
            <a:r>
              <a:rPr lang="en-US" sz="900" dirty="0"/>
              <a:t>    }</a:t>
            </a:r>
          </a:p>
          <a:p>
            <a:pPr marL="0" indent="0">
              <a:buFont typeface="+mj-lt"/>
              <a:buNone/>
            </a:pPr>
            <a:r>
              <a:rPr lang="en-US" sz="900" dirty="0"/>
              <a:t>  }</a:t>
            </a:r>
          </a:p>
          <a:p>
            <a:pPr marL="0" indent="0">
              <a:buFont typeface="+mj-lt"/>
              <a:buNone/>
            </a:pPr>
            <a:r>
              <a:rPr lang="en-US" sz="900" dirty="0"/>
              <a:t>}</a:t>
            </a:r>
          </a:p>
          <a:p>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479264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This process largely follows the CRISP-DM model: </a:t>
            </a:r>
            <a:r>
              <a:rPr lang="en-US" sz="1800" dirty="0">
                <a:hlinkClick r:id="rId3"/>
              </a:rPr>
              <a:t>http://www.sv-europe.com/crisp-dm-methodology/</a:t>
            </a:r>
            <a:r>
              <a:rPr lang="en-US" sz="1800" dirty="0"/>
              <a:t>  </a:t>
            </a:r>
          </a:p>
          <a:p>
            <a:pPr marL="228600" indent="-228600">
              <a:buFont typeface="+mj-lt"/>
              <a:buAutoNum type="arabicPeriod"/>
            </a:pPr>
            <a:r>
              <a:rPr lang="en-US" sz="1800" dirty="0"/>
              <a:t>It also references the Cortana Intelligence process: </a:t>
            </a:r>
            <a:r>
              <a:rPr lang="en-US" sz="1800" dirty="0">
                <a:hlinkClick r:id="rId4"/>
              </a:rPr>
              <a:t>https://azure.microsoft.com/en-us/documentation/articles/data-science-process-overview/</a:t>
            </a:r>
            <a:r>
              <a:rPr lang="en-US" sz="1800" dirty="0"/>
              <a:t>  </a:t>
            </a:r>
          </a:p>
          <a:p>
            <a:pPr marL="228600" indent="-228600">
              <a:buFont typeface="+mj-lt"/>
              <a:buAutoNum type="arabicPeriod"/>
            </a:pPr>
            <a:r>
              <a:rPr lang="en-US" sz="1800" dirty="0"/>
              <a:t>A complete process diagram</a:t>
            </a:r>
            <a:r>
              <a:rPr lang="en-US" sz="1800" baseline="0" dirty="0"/>
              <a:t> is here: </a:t>
            </a:r>
            <a:r>
              <a:rPr lang="en-US" sz="1800" dirty="0">
                <a:hlinkClick r:id="rId5"/>
              </a:rPr>
              <a:t>https://azure.microsoft.com/en-us/documentation/learning-paths/cortana-analytics-process/</a:t>
            </a:r>
            <a:r>
              <a:rPr lang="en-US" sz="1800" dirty="0"/>
              <a:t> </a:t>
            </a:r>
          </a:p>
          <a:p>
            <a:pPr marL="228600" indent="-228600">
              <a:buFont typeface="+mj-lt"/>
              <a:buAutoNum type="arabicPeriod"/>
            </a:pPr>
            <a:r>
              <a:rPr lang="en-US" sz="1800" dirty="0"/>
              <a:t>Some walkthrough’s of the various services: </a:t>
            </a:r>
            <a:r>
              <a:rPr lang="en-US" sz="1800" dirty="0">
                <a:hlinkClick r:id="rId6"/>
              </a:rPr>
              <a:t>https://azure.microsoft.com/en-us/documentation/articles/data-science-process-walkthroughs/</a:t>
            </a:r>
            <a:r>
              <a:rPr lang="en-US" sz="1800" dirty="0"/>
              <a:t>  </a:t>
            </a:r>
          </a:p>
          <a:p>
            <a:pPr marL="228600" indent="-228600">
              <a:buFont typeface="+mj-lt"/>
              <a:buAutoNum type="arabicPeriod"/>
            </a:pPr>
            <a:r>
              <a:rPr lang="en-US" sz="1800" dirty="0"/>
              <a:t>A</a:t>
            </a:r>
            <a:r>
              <a:rPr lang="en-US" sz="1800" baseline="0" dirty="0"/>
              <a:t>n integrated process and toolset allows for a more close-to-intent deployment</a:t>
            </a:r>
          </a:p>
          <a:p>
            <a:pPr marL="228600" indent="-228600">
              <a:buFont typeface="+mj-lt"/>
              <a:buAutoNum type="arabicPeriod"/>
            </a:pPr>
            <a:r>
              <a:rPr lang="en-US" sz="1800" baseline="0" dirty="0"/>
              <a:t>Iterations are required to close in on the solution – but are harder to management and monitor</a:t>
            </a:r>
          </a:p>
          <a:p>
            <a:pPr marL="228600" indent="-228600">
              <a:buFont typeface="+mj-lt"/>
              <a:buAutoNum type="arabicPeriod"/>
            </a:pPr>
            <a:r>
              <a:rPr lang="en-US" sz="1800" baseline="0" dirty="0"/>
              <a:t>GitHub site with project structure, guidance and utilities to get a team started:  </a:t>
            </a:r>
            <a:r>
              <a:rPr lang="en-US" sz="1800" u="sng" baseline="0" dirty="0"/>
              <a:t>https://github.com/Azure/Microsoft-TDSP</a:t>
            </a:r>
            <a:endParaRPr lang="en-US" sz="1800" u="sng" dirty="0"/>
          </a:p>
          <a:p>
            <a:pPr marL="228600" indent="-228600">
              <a:buFont typeface="+mj-lt"/>
              <a:buAutoNum type="arabicPeriod"/>
            </a:pP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335161282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Open the </a:t>
            </a:r>
            <a:r>
              <a:rPr lang="en-US" sz="1800" b="1" kern="1200" dirty="0">
                <a:solidFill>
                  <a:schemeClr val="tx1"/>
                </a:solidFill>
                <a:latin typeface="Segoe UI Light" pitchFamily="34" charset="0"/>
                <a:ea typeface="+mn-ea"/>
                <a:cs typeface="+mn-cs"/>
              </a:rPr>
              <a:t>ADF Student Workbook </a:t>
            </a:r>
            <a:r>
              <a:rPr lang="en-US" sz="1800" kern="1200" dirty="0">
                <a:solidFill>
                  <a:schemeClr val="tx1"/>
                </a:solidFill>
                <a:latin typeface="Segoe UI Light" pitchFamily="34" charset="0"/>
                <a:ea typeface="+mn-ea"/>
                <a:cs typeface="+mn-cs"/>
              </a:rPr>
              <a:t>file from your \Resources folder</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Follow the steps for Lab 4</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33597659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Main Pipeline Documentation: </a:t>
            </a:r>
            <a:r>
              <a:rPr lang="en-US" dirty="0">
                <a:hlinkClick r:id="rId3"/>
              </a:rPr>
              <a:t>https://azure.microsoft.com/en-us/documentation/articles/data-factory-create-pipelines/</a:t>
            </a:r>
            <a:r>
              <a:rPr lang="en-US"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40828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hlinkClick r:id="rId3"/>
              </a:rPr>
              <a:t>https://azure.microsoft.com/en-us/documentation/articles/data-factory-build-your-first-pipeline-using-editor/</a:t>
            </a:r>
            <a:r>
              <a:rPr lang="en-US" dirty="0"/>
              <a:t> </a:t>
            </a:r>
          </a:p>
          <a:p>
            <a:pPr marL="228600" indent="-228600">
              <a:buFont typeface="+mj-lt"/>
              <a:buAutoNum type="arabicPeriod"/>
            </a:pPr>
            <a:r>
              <a:rPr lang="en-US" dirty="0"/>
              <a:t>Activities:</a:t>
            </a:r>
            <a:r>
              <a:rPr lang="en-US" baseline="0" dirty="0"/>
              <a:t> </a:t>
            </a:r>
            <a:r>
              <a:rPr lang="en-US" baseline="0" dirty="0">
                <a:hlinkClick r:id="rId4"/>
              </a:rPr>
              <a:t>https://azure.microsoft.com/en-us/documentation/articles/data-factory-create-pipelines/</a:t>
            </a:r>
            <a:r>
              <a:rPr lang="en-US" baseline="0" dirty="0"/>
              <a:t>  </a:t>
            </a: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4186228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Open the </a:t>
            </a:r>
            <a:r>
              <a:rPr lang="en-US" sz="1800" b="1" kern="1200" dirty="0">
                <a:solidFill>
                  <a:schemeClr val="tx1"/>
                </a:solidFill>
                <a:latin typeface="Segoe UI Light" pitchFamily="34" charset="0"/>
                <a:ea typeface="+mn-ea"/>
                <a:cs typeface="+mn-cs"/>
              </a:rPr>
              <a:t>ADF Student Workbook </a:t>
            </a:r>
            <a:r>
              <a:rPr lang="en-US" sz="1800" kern="1200" dirty="0">
                <a:solidFill>
                  <a:schemeClr val="tx1"/>
                </a:solidFill>
                <a:latin typeface="Segoe UI Light" pitchFamily="34" charset="0"/>
                <a:ea typeface="+mn-ea"/>
                <a:cs typeface="+mn-cs"/>
              </a:rPr>
              <a:t>file from your \Resources folder</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Follow the steps for Lab 5</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45790190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Main Concepts: </a:t>
            </a:r>
            <a:r>
              <a:rPr lang="en-US" dirty="0">
                <a:hlinkClick r:id="rId3"/>
              </a:rPr>
              <a:t>https://azure.microsoft.com/en-us/documentation/articles/data-factory-monitor-manage-pipelines/</a:t>
            </a:r>
            <a:r>
              <a:rPr lang="en-US"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29981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Power</a:t>
            </a:r>
            <a:r>
              <a:rPr lang="en-US" baseline="0" dirty="0"/>
              <a:t>Shell script to help deal with errors in ADF: </a:t>
            </a:r>
            <a:r>
              <a:rPr lang="en-US" baseline="0" dirty="0">
                <a:hlinkClick r:id="rId3"/>
              </a:rPr>
              <a:t>http://blogs.msdn.com/b/karang/archive/2015/11/13/azure-data-factory-detecting-and-re-running-failed-adf-slices.aspx</a:t>
            </a:r>
            <a:r>
              <a:rPr lang="en-US" baseline="0" dirty="0"/>
              <a:t>  </a:t>
            </a: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4821437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263390"/>
            <a:ext cx="6096000" cy="4240530"/>
          </a:xfrm>
        </p:spPr>
        <p:txBody>
          <a:bodyPr/>
          <a:lstStyle/>
          <a:p>
            <a:pPr marL="228600" indent="-228600">
              <a:buFont typeface="+mj-lt"/>
              <a:buAutoNum type="arabicPeriod"/>
            </a:pPr>
            <a:r>
              <a:rPr lang="en-US" sz="1800" dirty="0"/>
              <a:t>Power</a:t>
            </a:r>
            <a:r>
              <a:rPr lang="en-US" sz="1800" baseline="0" dirty="0"/>
              <a:t>Shell script to help deal with errors in ADF: </a:t>
            </a:r>
            <a:r>
              <a:rPr lang="en-US" sz="1800" baseline="0" dirty="0">
                <a:hlinkClick r:id="rId3"/>
              </a:rPr>
              <a:t>http://blogs.msdn.com/b/karang/archive/2015/11/13/azure-data-factory-detecting-and-re-running-failed-adf-slices.aspx</a:t>
            </a:r>
            <a:r>
              <a:rPr lang="en-US" sz="1800" baseline="0" dirty="0"/>
              <a:t>  </a:t>
            </a: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974117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Open the </a:t>
            </a:r>
            <a:r>
              <a:rPr lang="en-US" sz="1800" b="1" kern="1200" dirty="0">
                <a:solidFill>
                  <a:schemeClr val="tx1"/>
                </a:solidFill>
                <a:latin typeface="Segoe UI Light" pitchFamily="34" charset="0"/>
                <a:ea typeface="+mn-ea"/>
                <a:cs typeface="+mn-cs"/>
              </a:rPr>
              <a:t>ADF Student Workbook </a:t>
            </a:r>
            <a:r>
              <a:rPr lang="en-US" sz="1800" kern="1200" dirty="0">
                <a:solidFill>
                  <a:schemeClr val="tx1"/>
                </a:solidFill>
                <a:latin typeface="Segoe UI Light" pitchFamily="34" charset="0"/>
                <a:ea typeface="+mn-ea"/>
                <a:cs typeface="+mn-cs"/>
              </a:rPr>
              <a:t>file from your \Resources folder</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Follow the steps for Lab 6</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4877311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Questions?</a:t>
            </a:r>
          </a:p>
        </p:txBody>
      </p:sp>
      <p:sp>
        <p:nvSpPr>
          <p:cNvPr id="7" name="Slide Number Placeholder 6"/>
          <p:cNvSpPr>
            <a:spLocks noGrp="1"/>
          </p:cNvSpPr>
          <p:nvPr>
            <p:ph type="sldNum" sz="quarter" idx="13"/>
          </p:nvPr>
        </p:nvSpPr>
        <p:spPr/>
        <p:txBody>
          <a:bodyPr/>
          <a:lstStyle/>
          <a:p>
            <a:fld id="{B4008EB6-D09E-4580-8CD6-DDB14511944F}" type="slidenum">
              <a:rPr lang="en-US" smtClean="0"/>
              <a:pPr/>
              <a:t>48</a:t>
            </a:fld>
            <a:endParaRPr lang="en-US" dirty="0"/>
          </a:p>
        </p:txBody>
      </p:sp>
    </p:spTree>
    <p:extLst>
      <p:ext uri="{BB962C8B-B14F-4D97-AF65-F5344CB8AC3E}">
        <p14:creationId xmlns:p14="http://schemas.microsoft.com/office/powerpoint/2010/main" val="3087082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marL="228600" indent="-228600">
              <a:buFont typeface="+mj-lt"/>
              <a:buAutoNum type="arabicPeriod"/>
            </a:pPr>
            <a:r>
              <a:rPr lang="en-US" sz="1200" dirty="0"/>
              <a:t>Platform and Storage: Microsoft Azure – </a:t>
            </a:r>
            <a:r>
              <a:rPr lang="en-US" sz="1200" dirty="0">
                <a:hlinkClick r:id="rId3"/>
              </a:rPr>
              <a:t>http://microsoftazure.com</a:t>
            </a:r>
            <a:r>
              <a:rPr lang="en-US" sz="1200" dirty="0"/>
              <a:t>  Storage: </a:t>
            </a:r>
            <a:r>
              <a:rPr lang="en-US" sz="1200" dirty="0">
                <a:hlinkClick r:id="rId4"/>
              </a:rPr>
              <a:t>https://azure.microsoft.com/en-us/documentation/services/storage/</a:t>
            </a:r>
            <a:r>
              <a:rPr lang="en-US" sz="1200" dirty="0"/>
              <a:t>  </a:t>
            </a:r>
            <a:r>
              <a:rPr lang="en-US" sz="1200" b="1" dirty="0"/>
              <a:t>(Host It)</a:t>
            </a:r>
          </a:p>
          <a:p>
            <a:pPr marL="228600" indent="-228600">
              <a:buFont typeface="+mj-lt"/>
              <a:buAutoNum type="arabicPeriod"/>
            </a:pPr>
            <a:r>
              <a:rPr lang="en-US" sz="1200" dirty="0"/>
              <a:t>Azure Data Catalog: </a:t>
            </a:r>
            <a:r>
              <a:rPr lang="en-US" sz="1200" dirty="0">
                <a:hlinkClick r:id="rId5"/>
              </a:rPr>
              <a:t>http://azure.microsoft.com/en-us/services/data-catalog</a:t>
            </a:r>
            <a:r>
              <a:rPr lang="en-US" sz="1200" dirty="0"/>
              <a:t>  </a:t>
            </a:r>
            <a:r>
              <a:rPr lang="en-US" sz="1200" b="1" dirty="0"/>
              <a:t>(Doc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200" dirty="0"/>
              <a:t>Azure Data Factory: </a:t>
            </a:r>
            <a:r>
              <a:rPr lang="en-US" sz="1200" dirty="0">
                <a:hlinkClick r:id="rId6"/>
              </a:rPr>
              <a:t>http://azure.microsoft.com/en-us/services/data-factory/</a:t>
            </a:r>
            <a:r>
              <a:rPr lang="en-US" sz="1200" dirty="0"/>
              <a:t>   </a:t>
            </a:r>
            <a:r>
              <a:rPr lang="en-US" sz="1200" b="1" dirty="0"/>
              <a:t>(Move It)</a:t>
            </a:r>
          </a:p>
          <a:p>
            <a:pPr marL="228600" indent="-228600">
              <a:buFont typeface="+mj-lt"/>
              <a:buAutoNum type="arabicPeriod"/>
            </a:pPr>
            <a:r>
              <a:rPr lang="en-US" sz="1200" dirty="0"/>
              <a:t>Azure Event Hubs: </a:t>
            </a:r>
            <a:r>
              <a:rPr lang="en-US" sz="1200" dirty="0">
                <a:hlinkClick r:id="rId7"/>
              </a:rPr>
              <a:t>http://azure.microsoft.com/en-us/services/event-hubs/</a:t>
            </a:r>
            <a:r>
              <a:rPr lang="en-US" sz="1200" dirty="0"/>
              <a:t>  </a:t>
            </a:r>
            <a:r>
              <a:rPr lang="en-US" sz="1200" b="1" dirty="0"/>
              <a:t>(Bring It)</a:t>
            </a:r>
          </a:p>
          <a:p>
            <a:pPr marL="228600" indent="-228600">
              <a:buFont typeface="+mj-lt"/>
              <a:buAutoNum type="arabicPeriod"/>
            </a:pPr>
            <a:r>
              <a:rPr lang="en-US" sz="1200" dirty="0"/>
              <a:t>Azure Data Lake: </a:t>
            </a:r>
            <a:r>
              <a:rPr lang="en-US" sz="1200" dirty="0">
                <a:hlinkClick r:id="rId8"/>
              </a:rPr>
              <a:t>http://azure.microsoft.com/en-us/campaigns/data-lake/</a:t>
            </a:r>
            <a:r>
              <a:rPr lang="en-US" sz="1200" dirty="0"/>
              <a:t>  </a:t>
            </a:r>
            <a:r>
              <a:rPr lang="en-US" sz="1200" b="1" dirty="0"/>
              <a:t>(Store It)</a:t>
            </a:r>
          </a:p>
          <a:p>
            <a:pPr marL="228600" indent="-228600">
              <a:buFont typeface="+mj-lt"/>
              <a:buAutoNum type="arabicPeriod"/>
            </a:pPr>
            <a:r>
              <a:rPr lang="en-US" sz="1200" dirty="0"/>
              <a:t>Azure </a:t>
            </a:r>
            <a:r>
              <a:rPr lang="en-US" sz="1200" dirty="0" err="1"/>
              <a:t>DocumentDB</a:t>
            </a:r>
            <a:r>
              <a:rPr lang="en-US" sz="1200" dirty="0"/>
              <a:t>: </a:t>
            </a:r>
            <a:r>
              <a:rPr lang="en-US" sz="1200" dirty="0">
                <a:hlinkClick r:id="rId9"/>
              </a:rPr>
              <a:t>https://azure.microsoft.com/en-us/services/documentdb/</a:t>
            </a:r>
            <a:r>
              <a:rPr lang="en-US" sz="1200" dirty="0"/>
              <a:t> , Azure SQL Data Warehouse: </a:t>
            </a:r>
            <a:r>
              <a:rPr lang="en-US" sz="1200" dirty="0">
                <a:hlinkClick r:id="rId10"/>
              </a:rPr>
              <a:t>http://azure.microsoft.com/en-us/services/sql-data-warehouse/</a:t>
            </a:r>
            <a:r>
              <a:rPr lang="en-US" sz="1200" dirty="0"/>
              <a:t>  </a:t>
            </a:r>
            <a:r>
              <a:rPr lang="en-US" sz="1200" b="1" dirty="0"/>
              <a:t>(Relate It)</a:t>
            </a:r>
          </a:p>
          <a:p>
            <a:pPr marL="228600" indent="-228600">
              <a:buFont typeface="+mj-lt"/>
              <a:buAutoNum type="arabicPeriod"/>
            </a:pPr>
            <a:r>
              <a:rPr lang="en-US" sz="1200" dirty="0"/>
              <a:t>Azure Machine Learning: </a:t>
            </a:r>
            <a:r>
              <a:rPr lang="en-US" sz="1200" dirty="0">
                <a:hlinkClick r:id="rId11"/>
              </a:rPr>
              <a:t>http://azure.microsoft.com/en-us/services/machine-learning/</a:t>
            </a:r>
            <a:r>
              <a:rPr lang="en-US" sz="1200" dirty="0"/>
              <a:t>  </a:t>
            </a:r>
            <a:r>
              <a:rPr lang="en-US" sz="1200" b="1" dirty="0"/>
              <a:t>(Learn It)</a:t>
            </a:r>
          </a:p>
          <a:p>
            <a:pPr marL="228600" indent="-228600">
              <a:buFont typeface="+mj-lt"/>
              <a:buAutoNum type="arabicPeriod"/>
            </a:pPr>
            <a:r>
              <a:rPr lang="en-US" sz="1200" dirty="0"/>
              <a:t>Azure HDInsight: </a:t>
            </a:r>
            <a:r>
              <a:rPr lang="en-US" sz="1200" dirty="0">
                <a:hlinkClick r:id="rId12"/>
              </a:rPr>
              <a:t>http://azure.microsoft.com/en-us/services/hdinsight/</a:t>
            </a:r>
            <a:r>
              <a:rPr lang="en-US" sz="1200" dirty="0"/>
              <a:t>  </a:t>
            </a:r>
            <a:r>
              <a:rPr lang="en-US" sz="1200" b="1" dirty="0"/>
              <a:t>(Scale It)</a:t>
            </a:r>
          </a:p>
          <a:p>
            <a:pPr marL="228600" indent="-228600">
              <a:buFont typeface="+mj-lt"/>
              <a:buAutoNum type="arabicPeriod"/>
            </a:pPr>
            <a:r>
              <a:rPr lang="en-US" sz="1200" dirty="0"/>
              <a:t>Azure Stream Analytics: </a:t>
            </a:r>
            <a:r>
              <a:rPr lang="en-US" sz="1200" dirty="0">
                <a:hlinkClick r:id="rId13"/>
              </a:rPr>
              <a:t>http://azure.microsoft.com/en-us/services/stream-analytics/</a:t>
            </a:r>
            <a:r>
              <a:rPr lang="en-US" sz="1200" dirty="0"/>
              <a:t>  </a:t>
            </a:r>
            <a:r>
              <a:rPr lang="en-US" sz="1200" b="1" dirty="0"/>
              <a:t>(Stream It) </a:t>
            </a:r>
          </a:p>
          <a:p>
            <a:pPr marL="228600" indent="-228600">
              <a:buFont typeface="+mj-lt"/>
              <a:buAutoNum type="arabicPeriod"/>
            </a:pPr>
            <a:r>
              <a:rPr lang="en-US" sz="1200" dirty="0"/>
              <a:t>Power BI: </a:t>
            </a:r>
            <a:r>
              <a:rPr lang="en-US" sz="1200" dirty="0">
                <a:hlinkClick r:id="rId14"/>
              </a:rPr>
              <a:t>https://powerbi.microsoft.com/</a:t>
            </a:r>
            <a:r>
              <a:rPr lang="en-US" sz="1200" dirty="0"/>
              <a:t>  </a:t>
            </a:r>
            <a:r>
              <a:rPr lang="en-US" sz="1200" b="1" dirty="0"/>
              <a:t>(See It)</a:t>
            </a:r>
          </a:p>
          <a:p>
            <a:pPr marL="228600" indent="-228600">
              <a:buFont typeface="+mj-lt"/>
              <a:buAutoNum type="arabicPeriod"/>
            </a:pPr>
            <a:r>
              <a:rPr lang="en-US" sz="1200" dirty="0"/>
              <a:t>Cortana: </a:t>
            </a:r>
            <a:r>
              <a:rPr lang="en-US" sz="1200" dirty="0">
                <a:hlinkClick r:id="rId15"/>
              </a:rPr>
              <a:t>http://blogs.windows.com/buildingapps/2014/09/23/cortana-integration-and-speech-recognition-new-code-samples/</a:t>
            </a:r>
            <a:r>
              <a:rPr lang="en-US" sz="1200" dirty="0"/>
              <a:t>  and </a:t>
            </a:r>
            <a:r>
              <a:rPr lang="en-US" sz="1200" dirty="0">
                <a:hlinkClick r:id="rId16"/>
              </a:rPr>
              <a:t>https://blogs.windows.com/buildingapps/2015/08/25/using-cortana-to-interact-with-your-customers-10-by-10/</a:t>
            </a:r>
            <a:r>
              <a:rPr lang="en-US" sz="1200" dirty="0"/>
              <a:t> and </a:t>
            </a:r>
            <a:r>
              <a:rPr lang="en-US" sz="1200" dirty="0">
                <a:hlinkClick r:id="rId17"/>
              </a:rPr>
              <a:t>https://developer.microsoft.com/en-us/Cortana</a:t>
            </a:r>
            <a:r>
              <a:rPr lang="en-US" sz="1200" dirty="0"/>
              <a:t>   </a:t>
            </a:r>
            <a:r>
              <a:rPr lang="en-US" sz="1200" b="1" dirty="0"/>
              <a:t>(Say It)</a:t>
            </a:r>
            <a:endParaRPr lang="en-US" sz="1200" b="0" dirty="0"/>
          </a:p>
          <a:p>
            <a:pPr marL="228600" indent="-228600">
              <a:buFont typeface="+mj-lt"/>
              <a:buAutoNum type="arabicPeriod"/>
            </a:pPr>
            <a:r>
              <a:rPr lang="en-US" sz="1200" b="0" dirty="0"/>
              <a:t>Cognitive Services: </a:t>
            </a:r>
            <a:r>
              <a:rPr lang="en-US" sz="1200" b="0" dirty="0">
                <a:hlinkClick r:id="rId18"/>
              </a:rPr>
              <a:t>https://www.microsoft.com/cognitive-services</a:t>
            </a:r>
            <a:r>
              <a:rPr lang="en-US" sz="1200" b="0" dirty="0"/>
              <a:t>  </a:t>
            </a:r>
          </a:p>
          <a:p>
            <a:pPr marL="228600" indent="-228600">
              <a:buFont typeface="+mj-lt"/>
              <a:buAutoNum type="arabicPeriod"/>
            </a:pPr>
            <a:r>
              <a:rPr lang="en-US" sz="1200" b="0" dirty="0"/>
              <a:t>Bot Framework: </a:t>
            </a:r>
            <a:r>
              <a:rPr lang="en-US" sz="1200" b="0" dirty="0">
                <a:hlinkClick r:id="rId19"/>
              </a:rPr>
              <a:t>https://dev.botframework.com/</a:t>
            </a:r>
            <a:r>
              <a:rPr lang="en-US" sz="1200" b="0" dirty="0"/>
              <a:t>  </a:t>
            </a:r>
          </a:p>
          <a:p>
            <a:pPr marL="228600" indent="-228600">
              <a:buFont typeface="+mj-lt"/>
              <a:buAutoNum type="arabicPeriod"/>
            </a:pPr>
            <a:r>
              <a:rPr lang="en-US" sz="1200" dirty="0"/>
              <a:t>All of the components within the suite: </a:t>
            </a:r>
            <a:r>
              <a:rPr lang="en-US" sz="1200" dirty="0">
                <a:hlinkClick r:id="rId20"/>
              </a:rPr>
              <a:t>https://www.microsoft.com/en-us/server-cloud/cortana-intelligence-suite/what-is-cortana-intelligence.aspx</a:t>
            </a:r>
            <a:r>
              <a:rPr lang="en-US" sz="1200" dirty="0"/>
              <a:t>  </a:t>
            </a:r>
          </a:p>
          <a:p>
            <a:pPr marL="228600" indent="-228600">
              <a:buFont typeface="+mj-lt"/>
              <a:buAutoNum type="arabicPeriod"/>
            </a:pPr>
            <a:r>
              <a:rPr lang="en-US" sz="1200" dirty="0"/>
              <a:t>What can I do with it? </a:t>
            </a:r>
            <a:r>
              <a:rPr lang="en-US" sz="1200" dirty="0">
                <a:hlinkClick r:id="rId21"/>
              </a:rPr>
              <a:t>https://gallery.cortanaintelligence.com/</a:t>
            </a:r>
            <a:r>
              <a:rPr lang="en-US" sz="1200" dirty="0"/>
              <a:t>  </a:t>
            </a:r>
          </a:p>
          <a:p>
            <a:pPr marL="228600" indent="-228600">
              <a:buFont typeface="+mj-lt"/>
              <a:buAutoNum type="arabicPeriod"/>
            </a:pPr>
            <a:r>
              <a:rPr lang="en-US" sz="1200" dirty="0"/>
              <a:t>Getting</a:t>
            </a:r>
            <a:r>
              <a:rPr lang="en-US" sz="1200" baseline="0" dirty="0"/>
              <a:t> Started Quickly: </a:t>
            </a:r>
            <a:r>
              <a:rPr lang="en-US" sz="1200" baseline="0" dirty="0">
                <a:hlinkClick r:id="rId22"/>
              </a:rPr>
              <a:t>https://caqs.azure.net/#gallery</a:t>
            </a:r>
            <a:r>
              <a:rPr lang="en-US" sz="1200" baseline="0" dirty="0"/>
              <a:t>  </a:t>
            </a:r>
            <a:endParaRPr lang="en-US" sz="1200" dirty="0"/>
          </a:p>
          <a:p>
            <a:pPr marL="228600" indent="-228600">
              <a:buFont typeface="+mj-lt"/>
              <a:buAutoNum type="arabicPeriod"/>
            </a:pPr>
            <a:endParaRPr lang="en-US" sz="1200" b="0" dirty="0"/>
          </a:p>
          <a:p>
            <a:pPr marL="228600" indent="-228600">
              <a:buFont typeface="+mj-lt"/>
              <a:buAutoNum type="arabicPeriod"/>
            </a:pPr>
            <a:endParaRPr lang="en-US" sz="1200"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986459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Depends on the customer - </a:t>
            </a:r>
            <a:r>
              <a:rPr lang="en-US" dirty="0">
                <a:hlinkClick r:id="rId3"/>
              </a:rPr>
              <a:t>https://www.microsoft.com/en-us/cloud-platform/cortana-intelligence-suite-industry-solutions</a:t>
            </a:r>
            <a:r>
              <a:rPr lang="en-US"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2251693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AdventureWorks Data Dictionary:</a:t>
            </a:r>
            <a:r>
              <a:rPr lang="en-US" baseline="0" dirty="0"/>
              <a:t> </a:t>
            </a:r>
            <a:r>
              <a:rPr lang="en-US" baseline="0" dirty="0">
                <a:hlinkClick r:id="rId3"/>
              </a:rPr>
              <a:t>https://technet.microsoft.com/en-us/library/ms124438(v=sql.100).aspx</a:t>
            </a:r>
            <a:r>
              <a:rPr lang="en-US" baseline="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3964397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AdventureWorks Data Dictionary:</a:t>
            </a:r>
            <a:r>
              <a:rPr lang="en-US" sz="1800" baseline="0" dirty="0"/>
              <a:t> </a:t>
            </a:r>
            <a:r>
              <a:rPr lang="en-US" sz="1800" baseline="0" dirty="0">
                <a:hlinkClick r:id="rId3"/>
              </a:rPr>
              <a:t>https://technet.microsoft.com/en-us/library/ms124438(v=sql.100).aspx</a:t>
            </a:r>
            <a:r>
              <a:rPr lang="en-US" sz="1800" baseline="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9630036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Processing, querying, and transforming data using HDInsight: </a:t>
            </a:r>
            <a:r>
              <a:rPr lang="en-US" dirty="0">
                <a:hlinkClick r:id="rId3"/>
              </a:rPr>
              <a:t>https://msdn.microsoft.com/en-us/library/dn749822.aspx</a:t>
            </a:r>
            <a:r>
              <a:rPr lang="en-US"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3680401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pic>
        <p:nvPicPr>
          <p:cNvPr id="7" name="Picture 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10" name="Rectangle 9"/>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938059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9855481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5027924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
        <p:nvSpPr>
          <p:cNvPr id="4"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5" name="Picture 4"/>
          <p:cNvPicPr>
            <a:picLocks noChangeAspect="1"/>
          </p:cNvPicPr>
          <p:nvPr userDrawn="1"/>
        </p:nvPicPr>
        <p:blipFill>
          <a:blip r:embed="rId3"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39190107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Edit Master text styles</a:t>
            </a:r>
          </a:p>
        </p:txBody>
      </p:sp>
    </p:spTree>
    <p:extLst>
      <p:ext uri="{BB962C8B-B14F-4D97-AF65-F5344CB8AC3E}">
        <p14:creationId xmlns:p14="http://schemas.microsoft.com/office/powerpoint/2010/main" val="106528991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4391035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57200" y="6565392"/>
            <a:ext cx="3937000" cy="137160"/>
          </a:xfrm>
          <a:prstGeom prst="rect">
            <a:avLst/>
          </a:prstGeom>
        </p:spPr>
        <p:txBody>
          <a:bodyPr/>
          <a:lstStyle>
            <a:lvl1pPr>
              <a:defRPr>
                <a:solidFill>
                  <a:schemeClr val="tx2"/>
                </a:solidFill>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sz="1800" b="0" i="0" u="none" strike="noStrike" kern="0" cap="none" spc="0" normalizeH="0" baseline="0" noProof="0" dirty="0">
                <a:ln>
                  <a:noFill/>
                </a:ln>
                <a:solidFill>
                  <a:srgbClr val="505050"/>
                </a:solidFill>
                <a:effectLst/>
                <a:uLnTx/>
                <a:uFillTx/>
              </a:rPr>
              <a:t>Microsoft Confidential</a:t>
            </a:r>
          </a:p>
        </p:txBody>
      </p:sp>
      <p:sp>
        <p:nvSpPr>
          <p:cNvPr id="6" name="Slide Number Placeholder 5"/>
          <p:cNvSpPr>
            <a:spLocks noGrp="1"/>
          </p:cNvSpPr>
          <p:nvPr>
            <p:ph type="sldNum" sz="quarter" idx="12"/>
          </p:nvPr>
        </p:nvSpPr>
        <p:spPr>
          <a:xfrm>
            <a:off x="11595101" y="6565392"/>
            <a:ext cx="566737" cy="137160"/>
          </a:xfrm>
          <a:prstGeom prst="rect">
            <a:avLst/>
          </a:prstGeom>
        </p:spPr>
        <p:txBody>
          <a:bodyPr/>
          <a:lstStyle>
            <a:lvl1pPr>
              <a:defRPr>
                <a:solidFill>
                  <a:schemeClr val="tx2"/>
                </a:solidFill>
              </a:defRPr>
            </a:lvl1pPr>
          </a:lstStyle>
          <a:p>
            <a:pPr marL="0" marR="0" lvl="0" indent="0" defTabSz="914400" eaLnBrk="1" fontAlgn="auto" latinLnBrk="0" hangingPunct="1">
              <a:lnSpc>
                <a:spcPct val="100000"/>
              </a:lnSpc>
              <a:spcBef>
                <a:spcPts val="0"/>
              </a:spcBef>
              <a:spcAft>
                <a:spcPts val="0"/>
              </a:spcAft>
              <a:buClrTx/>
              <a:buSzTx/>
              <a:buFontTx/>
              <a:buNone/>
              <a:tabLst/>
              <a:defRPr/>
            </a:pPr>
            <a:fld id="{27258FFF-F925-446B-8502-81C933981705}" type="slidenum">
              <a:rPr kumimoji="0" sz="1800" b="0" i="0" u="none" strike="noStrike" kern="0" cap="none" spc="0" normalizeH="0" baseline="0" noProof="0" smtClean="0">
                <a:ln>
                  <a:noFill/>
                </a:ln>
                <a:solidFill>
                  <a:srgbClr val="50505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a:t>
            </a:fld>
            <a:endParaRPr kumimoji="0" sz="1800" b="0" i="0" u="none" strike="noStrike" kern="0" cap="none" spc="0" normalizeH="0" baseline="0" noProof="0" dirty="0">
              <a:ln>
                <a:noFill/>
              </a:ln>
              <a:solidFill>
                <a:srgbClr val="505050"/>
              </a:solidFill>
              <a:effectLst/>
              <a:uLnTx/>
              <a:uFillTx/>
            </a:endParaRPr>
          </a:p>
        </p:txBody>
      </p:sp>
      <p:sp>
        <p:nvSpPr>
          <p:cNvPr id="7" name="Text Placeholder 4"/>
          <p:cNvSpPr>
            <a:spLocks noGrp="1"/>
          </p:cNvSpPr>
          <p:nvPr>
            <p:ph type="body" sz="quarter" idx="13"/>
          </p:nvPr>
        </p:nvSpPr>
        <p:spPr>
          <a:xfrm>
            <a:off x="274638" y="369116"/>
            <a:ext cx="10972800" cy="1024684"/>
          </a:xfrm>
          <a:prstGeom prst="rect">
            <a:avLst/>
          </a:prstGeom>
        </p:spPr>
        <p:txBody>
          <a:bodyPr lIns="146304" tIns="91440" rIns="146304" bIns="91440">
            <a:noAutofit/>
          </a:bodyPr>
          <a:lstStyle>
            <a:lvl1pPr marL="0" indent="0" algn="l" defTabSz="932742" rtl="0" eaLnBrk="1" latinLnBrk="0" hangingPunct="1">
              <a:lnSpc>
                <a:spcPct val="90000"/>
              </a:lnSpc>
              <a:spcBef>
                <a:spcPct val="0"/>
              </a:spcBef>
              <a:spcAft>
                <a:spcPts val="2400"/>
              </a:spcAft>
              <a:buFontTx/>
              <a:buNone/>
              <a:defRPr lang="en-US" sz="5800" b="0" kern="1200" cap="none" spc="-102" baseline="0" dirty="0" smtClean="0">
                <a:ln w="3175">
                  <a:noFill/>
                </a:ln>
                <a:gradFill>
                  <a:gsLst>
                    <a:gs pos="6195">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ts val="1200"/>
              </a:spcBef>
              <a:spcAft>
                <a:spcPts val="2400"/>
              </a:spcAft>
              <a:buClrTx/>
              <a:buSzPct val="90000"/>
              <a:buFontTx/>
              <a:buNone/>
              <a:tabLst/>
            </a:pPr>
            <a:r>
              <a:rPr lang="en-US" dirty="0"/>
              <a:t>Click to edit Master text</a:t>
            </a:r>
          </a:p>
        </p:txBody>
      </p:sp>
    </p:spTree>
    <p:extLst>
      <p:ext uri="{BB962C8B-B14F-4D97-AF65-F5344CB8AC3E}">
        <p14:creationId xmlns:p14="http://schemas.microsoft.com/office/powerpoint/2010/main" val="38020634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570246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2464826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2438880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82156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Tree>
    <p:extLst>
      <p:ext uri="{BB962C8B-B14F-4D97-AF65-F5344CB8AC3E}">
        <p14:creationId xmlns:p14="http://schemas.microsoft.com/office/powerpoint/2010/main" val="2077961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8849682"/>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52779179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37160" rIns="137160" bIns="137160" rtlCol="0" anchor="t" anchorCtr="0">
            <a:normAutofit/>
          </a:bodyPr>
          <a:lstStyle>
            <a:lvl1pPr>
              <a:defRPr lang="en-US" sz="4488" spc="-100"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137160" rIns="137160" bIns="137160">
            <a:noAutofit/>
          </a:bodyPr>
          <a:lstStyle>
            <a:lvl1pPr marL="0" indent="0">
              <a:spcBef>
                <a:spcPts val="0"/>
              </a:spcBef>
              <a:buNone/>
              <a:defRPr sz="2040">
                <a:solidFill>
                  <a:schemeClr val="bg1"/>
                </a:solidFill>
              </a:defRPr>
            </a:lvl1pPr>
            <a:lvl2pPr marL="287279" indent="0">
              <a:buNone/>
              <a:defRPr sz="2040">
                <a:solidFill>
                  <a:schemeClr val="bg1"/>
                </a:solidFill>
              </a:defRPr>
            </a:lvl2pPr>
            <a:lvl3pPr marL="600187" indent="0">
              <a:buNone/>
              <a:defRPr sz="2040">
                <a:solidFill>
                  <a:schemeClr val="bg1"/>
                </a:solidFill>
              </a:defRPr>
            </a:lvl3pPr>
            <a:lvl4pPr marL="887466" indent="0">
              <a:buNone/>
              <a:defRPr sz="2040">
                <a:solidFill>
                  <a:schemeClr val="bg1"/>
                </a:solidFill>
              </a:defRPr>
            </a:lvl4pPr>
            <a:lvl5pPr marL="1127540" indent="0">
              <a:buNone/>
              <a:defRPr sz="2040">
                <a:solidFill>
                  <a:schemeClr val="bg1"/>
                </a:solidFill>
              </a:defRPr>
            </a:lvl5pPr>
          </a:lstStyle>
          <a:p>
            <a:pPr lvl="0"/>
            <a:r>
              <a:rPr lang="en-US" dirty="0"/>
              <a:t>Speaker Name</a:t>
            </a:r>
          </a:p>
        </p:txBody>
      </p:sp>
      <p:sp>
        <p:nvSpPr>
          <p:cNvPr id="10" name="TextBox 9"/>
          <p:cNvSpPr txBox="1"/>
          <p:nvPr/>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80296" y="233151"/>
            <a:ext cx="1986146" cy="730297"/>
          </a:xfrm>
          <a:prstGeom prst="rect">
            <a:avLst/>
          </a:prstGeom>
        </p:spPr>
      </p:pic>
      <p:sp>
        <p:nvSpPr>
          <p:cNvPr id="15" name="TextBox 14"/>
          <p:cNvSpPr txBox="1"/>
          <p:nvPr/>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1435" y="202306"/>
            <a:ext cx="1986146" cy="730297"/>
          </a:xfrm>
          <a:prstGeom prst="rect">
            <a:avLst/>
          </a:prstGeom>
        </p:spPr>
      </p:pic>
      <p:sp>
        <p:nvSpPr>
          <p:cNvPr id="14" name="TextBox 13"/>
          <p:cNvSpPr txBox="1"/>
          <p:nvPr userDrawn="1"/>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435" y="202306"/>
            <a:ext cx="1986146" cy="730297"/>
          </a:xfrm>
          <a:prstGeom prst="rect">
            <a:avLst/>
          </a:prstGeom>
        </p:spPr>
      </p:pic>
    </p:spTree>
    <p:extLst>
      <p:ext uri="{BB962C8B-B14F-4D97-AF65-F5344CB8AC3E}">
        <p14:creationId xmlns:p14="http://schemas.microsoft.com/office/powerpoint/2010/main" val="3963641087"/>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37160" rIns="137160" bIns="137160" rtlCol="0" anchor="t" anchorCtr="0">
            <a:normAutofit/>
          </a:bodyPr>
          <a:lstStyle>
            <a:lvl1pPr>
              <a:defRPr lang="en-US" sz="4488" spc="-100"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137160" rIns="137160" bIns="137160">
            <a:noAutofit/>
          </a:bodyPr>
          <a:lstStyle>
            <a:lvl1pPr marL="0" indent="0">
              <a:spcBef>
                <a:spcPts val="0"/>
              </a:spcBef>
              <a:buNone/>
              <a:defRPr sz="2040">
                <a:solidFill>
                  <a:schemeClr val="bg1"/>
                </a:solidFill>
              </a:defRPr>
            </a:lvl1pPr>
            <a:lvl2pPr marL="287279" indent="0">
              <a:buNone/>
              <a:defRPr sz="2040">
                <a:solidFill>
                  <a:schemeClr val="bg1"/>
                </a:solidFill>
              </a:defRPr>
            </a:lvl2pPr>
            <a:lvl3pPr marL="600187" indent="0">
              <a:buNone/>
              <a:defRPr sz="2040">
                <a:solidFill>
                  <a:schemeClr val="bg1"/>
                </a:solidFill>
              </a:defRPr>
            </a:lvl3pPr>
            <a:lvl4pPr marL="887466" indent="0">
              <a:buNone/>
              <a:defRPr sz="2040">
                <a:solidFill>
                  <a:schemeClr val="bg1"/>
                </a:solidFill>
              </a:defRPr>
            </a:lvl4pPr>
            <a:lvl5pPr marL="1127540" indent="0">
              <a:buNone/>
              <a:defRPr sz="2040">
                <a:solidFill>
                  <a:schemeClr val="bg1"/>
                </a:solidFill>
              </a:defRPr>
            </a:lvl5pPr>
          </a:lstStyle>
          <a:p>
            <a:pPr lvl="0"/>
            <a:r>
              <a:rPr lang="en-US" dirty="0"/>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3784" y="204776"/>
            <a:ext cx="1986143" cy="730297"/>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84" y="204776"/>
            <a:ext cx="1986143" cy="730297"/>
          </a:xfrm>
          <a:prstGeom prst="rect">
            <a:avLst/>
          </a:prstGeom>
        </p:spPr>
      </p:pic>
    </p:spTree>
    <p:extLst>
      <p:ext uri="{BB962C8B-B14F-4D97-AF65-F5344CB8AC3E}">
        <p14:creationId xmlns:p14="http://schemas.microsoft.com/office/powerpoint/2010/main" val="3942683834"/>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6"/>
            <a:ext cx="12128721" cy="46681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1943199" y="6606832"/>
            <a:ext cx="8550077" cy="387694"/>
          </a:xfrm>
        </p:spPr>
        <p:txBody>
          <a:bodyPr/>
          <a:lstStyle/>
          <a:p>
            <a:endParaRPr lang="en-US" dirty="0">
              <a:solidFill>
                <a:srgbClr val="505050"/>
              </a:solidFill>
            </a:endParaRPr>
          </a:p>
        </p:txBody>
      </p:sp>
    </p:spTree>
    <p:extLst>
      <p:ext uri="{BB962C8B-B14F-4D97-AF65-F5344CB8AC3E}">
        <p14:creationId xmlns:p14="http://schemas.microsoft.com/office/powerpoint/2010/main" val="144525364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3" name="Footer Placeholder 2"/>
          <p:cNvSpPr>
            <a:spLocks noGrp="1"/>
          </p:cNvSpPr>
          <p:nvPr>
            <p:ph type="ftr" sz="quarter" idx="14"/>
          </p:nvPr>
        </p:nvSpPr>
        <p:spPr/>
        <p:txBody>
          <a:bodyPr/>
          <a:lstStyle/>
          <a:p>
            <a:pPr defTabSz="1109758"/>
            <a:endParaRPr lang="en-US" dirty="0">
              <a:solidFill>
                <a:srgbClr val="505050"/>
              </a:solidFill>
            </a:endParaRPr>
          </a:p>
        </p:txBody>
      </p:sp>
      <p:sp>
        <p:nvSpPr>
          <p:cNvPr id="7" name="Slide Number Placeholder 6"/>
          <p:cNvSpPr>
            <a:spLocks noGrp="1"/>
          </p:cNvSpPr>
          <p:nvPr>
            <p:ph type="sldNum" sz="quarter" idx="15"/>
          </p:nvPr>
        </p:nvSpPr>
        <p:spPr/>
        <p:txBody>
          <a:body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67027091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3878" y="1632056"/>
            <a:ext cx="12128721" cy="45853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7279" indent="0">
              <a:buNone/>
              <a:defRPr>
                <a:solidFill>
                  <a:schemeClr val="tx1"/>
                </a:solidFill>
                <a:latin typeface="Courier New" pitchFamily="49" charset="0"/>
                <a:cs typeface="Courier New" pitchFamily="49" charset="0"/>
              </a:defRPr>
            </a:lvl2pPr>
            <a:lvl3pPr marL="600187" indent="0">
              <a:buNone/>
              <a:defRPr>
                <a:solidFill>
                  <a:schemeClr val="tx1"/>
                </a:solidFill>
                <a:latin typeface="Courier New" pitchFamily="49" charset="0"/>
                <a:cs typeface="Courier New" pitchFamily="49" charset="0"/>
              </a:defRPr>
            </a:lvl3pPr>
            <a:lvl4pPr marL="887466" indent="0">
              <a:buNone/>
              <a:defRPr>
                <a:solidFill>
                  <a:schemeClr val="tx1"/>
                </a:solidFill>
                <a:latin typeface="Courier New" pitchFamily="49" charset="0"/>
                <a:cs typeface="Courier New" pitchFamily="49" charset="0"/>
              </a:defRPr>
            </a:lvl4pPr>
            <a:lvl5pPr marL="112754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21939934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90961452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3879" y="1165756"/>
            <a:ext cx="10262763" cy="2788709"/>
          </a:xfrm>
          <a:noFill/>
        </p:spPr>
        <p:txBody>
          <a:bodyPr lIns="137160" tIns="137160" rIns="137160" bIns="137160" anchor="t" anchorCtr="0"/>
          <a:lstStyle>
            <a:lvl1pPr>
              <a:defRPr sz="7241"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3877" y="3954464"/>
            <a:ext cx="10262765" cy="1874307"/>
          </a:xfrm>
          <a:noFill/>
        </p:spPr>
        <p:txBody>
          <a:bodyPr lIns="137160" tIns="137160" rIns="137160" bIns="137160">
            <a:noAutofit/>
          </a:bodyPr>
          <a:lstStyle>
            <a:lvl1pPr marL="0" indent="0">
              <a:spcBef>
                <a:spcPts val="0"/>
              </a:spcBef>
              <a:buNone/>
              <a:defRPr sz="2856"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5397835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3879" y="1165755"/>
            <a:ext cx="10262763" cy="2788709"/>
          </a:xfrm>
          <a:noFill/>
        </p:spPr>
        <p:txBody>
          <a:bodyPr lIns="137160" tIns="137160" rIns="137160" bIns="137160" anchor="t" anchorCtr="0"/>
          <a:lstStyle>
            <a:lvl1pPr>
              <a:defRPr sz="7241" spc="-100"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3877" y="3963564"/>
            <a:ext cx="10262764" cy="1865207"/>
          </a:xfrm>
          <a:noFill/>
        </p:spPr>
        <p:txBody>
          <a:bodyPr lIns="137160" tIns="137160" rIns="137160" bIns="137160">
            <a:noAutofit/>
          </a:bodyPr>
          <a:lstStyle>
            <a:lvl1pPr marL="0" indent="0">
              <a:spcBef>
                <a:spcPts val="0"/>
              </a:spcBef>
              <a:buNone/>
              <a:defRPr sz="2856"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7544776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FFFFFF"/>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629015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chemeClr val="tx1"/>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6301472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000000"/>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7067870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3375468869"/>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92822061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93C52C2B-7042-40BF-8872-17B0983F4A66}" type="datetimeFigureOut">
              <a:rPr lang="en-US" smtClean="0"/>
              <a:t>3/28/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75727231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3/28/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82885991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3C52C2B-7042-40BF-8872-17B0983F4A66}" type="datetimeFigureOut">
              <a:rPr lang="en-US" smtClean="0"/>
              <a:t>3/28/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6507936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3C52C2B-7042-40BF-8872-17B0983F4A66}" type="datetimeFigureOut">
              <a:rPr lang="en-US" smtClean="0"/>
              <a:t>3/28/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62881087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3C52C2B-7042-40BF-8872-17B0983F4A66}" type="datetimeFigureOut">
              <a:rPr lang="en-US" smtClean="0"/>
              <a:t>3/28/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72404445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3C52C2B-7042-40BF-8872-17B0983F4A66}" type="datetimeFigureOut">
              <a:rPr lang="en-US" smtClean="0"/>
              <a:t>3/28/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34252317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3C52C2B-7042-40BF-8872-17B0983F4A66}" type="datetimeFigureOut">
              <a:rPr lang="en-US" smtClean="0"/>
              <a:t>3/28/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2374381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93C52C2B-7042-40BF-8872-17B0983F4A66}" type="datetimeFigureOut">
              <a:rPr lang="en-US" smtClean="0"/>
              <a:t>3/28/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94198044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93C52C2B-7042-40BF-8872-17B0983F4A66}" type="datetimeFigureOut">
              <a:rPr lang="en-US" smtClean="0"/>
              <a:t>3/28/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89401010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3/28/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37177103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3/28/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97646305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68308" y="479425"/>
            <a:ext cx="1448129" cy="310896"/>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8"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9069969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b="0">
                <a:solidFill>
                  <a:schemeClr val="tx1"/>
                </a:solidFill>
              </a:defRPr>
            </a:lvl1pPr>
          </a:lstStyle>
          <a:p>
            <a:r>
              <a:rPr lang="en-US"/>
              <a:t>Click to edit Master title style</a:t>
            </a:r>
          </a:p>
        </p:txBody>
      </p:sp>
      <p:sp>
        <p:nvSpPr>
          <p:cNvPr id="3" name="Subtitle 2"/>
          <p:cNvSpPr>
            <a:spLocks noGrp="1"/>
          </p:cNvSpPr>
          <p:nvPr>
            <p:ph type="subTitle" idx="1"/>
          </p:nvPr>
        </p:nvSpPr>
        <p:spPr>
          <a:xfrm>
            <a:off x="1554560" y="3673745"/>
            <a:ext cx="9327356" cy="1688725"/>
          </a:xfrm>
        </p:spPr>
        <p:txBody>
          <a:bodyPr/>
          <a:lstStyle>
            <a:lvl1pPr marL="0" indent="0" algn="ctr">
              <a:buNone/>
              <a:defRPr sz="2448"/>
            </a:lvl1pPr>
            <a:lvl2pPr marL="466287" indent="0" algn="ctr">
              <a:buNone/>
              <a:defRPr sz="2040"/>
            </a:lvl2pPr>
            <a:lvl3pPr marL="932573" indent="0" algn="ctr">
              <a:buNone/>
              <a:defRPr sz="1836"/>
            </a:lvl3pPr>
            <a:lvl4pPr marL="1398860" indent="0" algn="ctr">
              <a:buNone/>
              <a:defRPr sz="1632"/>
            </a:lvl4pPr>
            <a:lvl5pPr marL="1865146" indent="0" algn="ctr">
              <a:buNone/>
              <a:defRPr sz="1632"/>
            </a:lvl5pPr>
            <a:lvl6pPr marL="2331433" indent="0" algn="ctr">
              <a:buNone/>
              <a:defRPr sz="1632"/>
            </a:lvl6pPr>
            <a:lvl7pPr marL="2797719" indent="0" algn="ctr">
              <a:buNone/>
              <a:defRPr sz="1632"/>
            </a:lvl7pPr>
            <a:lvl8pPr marL="3264006" indent="0" algn="ctr">
              <a:buNone/>
              <a:defRPr sz="1632"/>
            </a:lvl8pPr>
            <a:lvl9pPr marL="3730293" indent="0" algn="ctr">
              <a:buNone/>
              <a:defRPr sz="1632"/>
            </a:lvl9pPr>
          </a:lstStyle>
          <a:p>
            <a:r>
              <a:rPr lang="en-US"/>
              <a:t>Click to edit Master subtitle style</a:t>
            </a:r>
          </a:p>
        </p:txBody>
      </p:sp>
    </p:spTree>
    <p:extLst>
      <p:ext uri="{BB962C8B-B14F-4D97-AF65-F5344CB8AC3E}">
        <p14:creationId xmlns:p14="http://schemas.microsoft.com/office/powerpoint/2010/main" val="3270861867"/>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61606587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694681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3/28/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1701516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415252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solidFill>
                  <a:schemeClr val="bg1"/>
                </a:soli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solidFill>
                  <a:schemeClr val="bg1"/>
                </a:soli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422727069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57200" y="6565392"/>
            <a:ext cx="3937000" cy="137160"/>
          </a:xfrm>
          <a:prstGeom prst="rect">
            <a:avLst/>
          </a:prstGeom>
        </p:spPr>
        <p:txBody>
          <a:bodyPr/>
          <a:lstStyle>
            <a:lvl1pPr>
              <a:defRPr>
                <a:solidFill>
                  <a:schemeClr val="tx2"/>
                </a:solidFill>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sz="1800" b="0" i="0" u="none" strike="noStrike" kern="0" cap="none" spc="0" normalizeH="0" baseline="0" noProof="0" dirty="0">
                <a:ln>
                  <a:noFill/>
                </a:ln>
                <a:solidFill>
                  <a:srgbClr val="505050"/>
                </a:solidFill>
                <a:effectLst/>
                <a:uLnTx/>
                <a:uFillTx/>
              </a:rPr>
              <a:t>Microsoft Confidential</a:t>
            </a:r>
          </a:p>
        </p:txBody>
      </p:sp>
      <p:sp>
        <p:nvSpPr>
          <p:cNvPr id="6" name="Slide Number Placeholder 5"/>
          <p:cNvSpPr>
            <a:spLocks noGrp="1"/>
          </p:cNvSpPr>
          <p:nvPr>
            <p:ph type="sldNum" sz="quarter" idx="12"/>
          </p:nvPr>
        </p:nvSpPr>
        <p:spPr>
          <a:xfrm>
            <a:off x="11595101" y="6565392"/>
            <a:ext cx="566737" cy="137160"/>
          </a:xfrm>
          <a:prstGeom prst="rect">
            <a:avLst/>
          </a:prstGeom>
        </p:spPr>
        <p:txBody>
          <a:bodyPr/>
          <a:lstStyle>
            <a:lvl1pPr>
              <a:defRPr>
                <a:solidFill>
                  <a:schemeClr val="tx2"/>
                </a:solidFill>
              </a:defRPr>
            </a:lvl1pPr>
          </a:lstStyle>
          <a:p>
            <a:pPr marL="0" marR="0" lvl="0" indent="0" defTabSz="914400" eaLnBrk="1" fontAlgn="auto" latinLnBrk="0" hangingPunct="1">
              <a:lnSpc>
                <a:spcPct val="100000"/>
              </a:lnSpc>
              <a:spcBef>
                <a:spcPts val="0"/>
              </a:spcBef>
              <a:spcAft>
                <a:spcPts val="0"/>
              </a:spcAft>
              <a:buClrTx/>
              <a:buSzTx/>
              <a:buFontTx/>
              <a:buNone/>
              <a:tabLst/>
              <a:defRPr/>
            </a:pPr>
            <a:fld id="{27258FFF-F925-446B-8502-81C933981705}" type="slidenum">
              <a:rPr kumimoji="0" sz="1800" b="0" i="0" u="none" strike="noStrike" kern="0" cap="none" spc="0" normalizeH="0" baseline="0" noProof="0" smtClean="0">
                <a:ln>
                  <a:noFill/>
                </a:ln>
                <a:solidFill>
                  <a:srgbClr val="50505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a:t>
            </a:fld>
            <a:endParaRPr kumimoji="0" sz="1800" b="0" i="0" u="none" strike="noStrike" kern="0" cap="none" spc="0" normalizeH="0" baseline="0" noProof="0" dirty="0">
              <a:ln>
                <a:noFill/>
              </a:ln>
              <a:solidFill>
                <a:srgbClr val="505050"/>
              </a:solidFill>
              <a:effectLst/>
              <a:uLnTx/>
              <a:uFillTx/>
            </a:endParaRPr>
          </a:p>
        </p:txBody>
      </p:sp>
      <p:sp>
        <p:nvSpPr>
          <p:cNvPr id="7" name="Text Placeholder 4"/>
          <p:cNvSpPr>
            <a:spLocks noGrp="1"/>
          </p:cNvSpPr>
          <p:nvPr>
            <p:ph type="body" sz="quarter" idx="13"/>
          </p:nvPr>
        </p:nvSpPr>
        <p:spPr>
          <a:xfrm>
            <a:off x="274638" y="369116"/>
            <a:ext cx="10972800" cy="1024684"/>
          </a:xfrm>
          <a:prstGeom prst="rect">
            <a:avLst/>
          </a:prstGeom>
        </p:spPr>
        <p:txBody>
          <a:bodyPr lIns="146304" tIns="91440" rIns="146304" bIns="91440">
            <a:noAutofit/>
          </a:bodyPr>
          <a:lstStyle>
            <a:lvl1pPr marL="0" indent="0" algn="l" defTabSz="932742" rtl="0" eaLnBrk="1" latinLnBrk="0" hangingPunct="1">
              <a:lnSpc>
                <a:spcPct val="90000"/>
              </a:lnSpc>
              <a:spcBef>
                <a:spcPct val="0"/>
              </a:spcBef>
              <a:spcAft>
                <a:spcPts val="2400"/>
              </a:spcAft>
              <a:buFontTx/>
              <a:buNone/>
              <a:defRPr lang="en-US" sz="5800" b="0" kern="1200" cap="none" spc="-102" baseline="0" dirty="0" smtClean="0">
                <a:ln w="3175">
                  <a:noFill/>
                </a:ln>
                <a:gradFill>
                  <a:gsLst>
                    <a:gs pos="6195">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ts val="1200"/>
              </a:spcBef>
              <a:spcAft>
                <a:spcPts val="2400"/>
              </a:spcAft>
              <a:buClrTx/>
              <a:buSzPct val="90000"/>
              <a:buFontTx/>
              <a:buNone/>
              <a:tabLst/>
            </a:pPr>
            <a:r>
              <a:rPr lang="en-US" dirty="0"/>
              <a:t>Click to edit Master text</a:t>
            </a:r>
          </a:p>
        </p:txBody>
      </p:sp>
    </p:spTree>
    <p:extLst>
      <p:ext uri="{BB962C8B-B14F-4D97-AF65-F5344CB8AC3E}">
        <p14:creationId xmlns:p14="http://schemas.microsoft.com/office/powerpoint/2010/main" val="17471841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887855964"/>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5" Type="http://schemas.openxmlformats.org/officeDocument/2006/relationships/slideLayout" Target="../slideLayouts/slideLayout14.xml"/><Relationship Id="rId10" Type="http://schemas.openxmlformats.org/officeDocument/2006/relationships/image" Target="../media/image1.png"/><Relationship Id="rId4" Type="http://schemas.openxmlformats.org/officeDocument/2006/relationships/slideLayout" Target="../slideLayouts/slideLayout13.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20.xml"/><Relationship Id="rId7" Type="http://schemas.openxmlformats.org/officeDocument/2006/relationships/theme" Target="../theme/theme3.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5" Type="http://schemas.openxmlformats.org/officeDocument/2006/relationships/slideLayout" Target="../slideLayouts/slideLayout22.xml"/><Relationship Id="rId4"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image" Target="../media/image9.emf"/><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oleObject" Target="../embeddings/oleObject1.bin"/><Relationship Id="rId2" Type="http://schemas.openxmlformats.org/officeDocument/2006/relationships/slideLayout" Target="../slideLayouts/slideLayout25.xml"/><Relationship Id="rId16" Type="http://schemas.openxmlformats.org/officeDocument/2006/relationships/tags" Target="../tags/tag1.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vmlDrawing" Target="../drawings/vmlDrawing1.v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theme" Target="../theme/theme5.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51.xml"/><Relationship Id="rId2" Type="http://schemas.openxmlformats.org/officeDocument/2006/relationships/slideLayout" Target="../slideLayouts/slideLayout50.xml"/><Relationship Id="rId1" Type="http://schemas.openxmlformats.org/officeDocument/2006/relationships/slideLayout" Target="../slideLayouts/slideLayout49.xml"/><Relationship Id="rId4"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1"/>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40" r:id="rId1"/>
    <p:sldLayoutId id="2147484247" r:id="rId2"/>
    <p:sldLayoutId id="2147484256" r:id="rId3"/>
    <p:sldLayoutId id="2147484257" r:id="rId4"/>
    <p:sldLayoutId id="2147484268" r:id="rId5"/>
    <p:sldLayoutId id="2147484524" r:id="rId6"/>
    <p:sldLayoutId id="2147484525" r:id="rId7"/>
    <p:sldLayoutId id="2147484526" r:id="rId8"/>
    <p:sldLayoutId id="2147484527" r:id="rId9"/>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solidFill>
            <a:schemeClr val="bg1"/>
          </a:soli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bg1"/>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bg1"/>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bg1"/>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bg1"/>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0"/>
          <a:stretch>
            <a:fillRect/>
          </a:stretch>
        </p:blipFill>
        <p:spPr>
          <a:xfrm rot="5400000">
            <a:off x="9393899" y="3050513"/>
            <a:ext cx="6995160" cy="894134"/>
          </a:xfrm>
          <a:prstGeom prst="rect">
            <a:avLst/>
          </a:prstGeom>
        </p:spPr>
      </p:pic>
      <p:pic>
        <p:nvPicPr>
          <p:cNvPr id="5" name="Picture 4"/>
          <p:cNvPicPr>
            <a:picLocks noChangeAspect="1"/>
          </p:cNvPicPr>
          <p:nvPr userDrawn="1"/>
        </p:nvPicPr>
        <p:blipFill>
          <a:blip r:embed="rId10"/>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082942347"/>
      </p:ext>
    </p:extLst>
  </p:cSld>
  <p:clrMap bg1="lt1" tx1="dk1" bg2="lt2" tx2="dk2" accent1="accent1" accent2="accent2" accent3="accent3" accent4="accent4" accent5="accent5" accent6="accent6" hlink="hlink" folHlink="folHlink"/>
  <p:sldLayoutIdLst>
    <p:sldLayoutId id="2147484529" r:id="rId1"/>
    <p:sldLayoutId id="2147484530" r:id="rId2"/>
    <p:sldLayoutId id="2147484531" r:id="rId3"/>
    <p:sldLayoutId id="2147484532" r:id="rId4"/>
    <p:sldLayoutId id="2147484534" r:id="rId5"/>
    <p:sldLayoutId id="2147484535" r:id="rId6"/>
    <p:sldLayoutId id="2147484536" r:id="rId7"/>
    <p:sldLayoutId id="2147484537" r:id="rId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8"/>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909532611"/>
      </p:ext>
    </p:extLst>
  </p:cSld>
  <p:clrMap bg1="lt1" tx1="dk1" bg2="lt2" tx2="dk2" accent1="accent1" accent2="accent2" accent3="accent3" accent4="accent4" accent5="accent5" accent6="accent6" hlink="hlink" folHlink="folHlink"/>
  <p:sldLayoutIdLst>
    <p:sldLayoutId id="2147484539" r:id="rId1"/>
    <p:sldLayoutId id="2147484540" r:id="rId2"/>
    <p:sldLayoutId id="2147484541" r:id="rId3"/>
    <p:sldLayoutId id="2147484542" r:id="rId4"/>
    <p:sldLayoutId id="2147484543" r:id="rId5"/>
    <p:sldLayoutId id="2147484544" r:id="rId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6"/>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048" name="think-cell Slide" r:id="rId17" imgW="383" imgH="384" progId="TCLayout.ActiveDocument.1">
                  <p:embed/>
                </p:oleObj>
              </mc:Choice>
              <mc:Fallback>
                <p:oleObj name="think-cell Slide" r:id="rId17" imgW="383" imgH="384" progId="TCLayout.ActiveDocument.1">
                  <p:embed/>
                  <p:pic>
                    <p:nvPicPr>
                      <p:cNvPr id="3" name="Object 2" hidden="1"/>
                      <p:cNvPicPr/>
                      <p:nvPr/>
                    </p:nvPicPr>
                    <p:blipFill>
                      <a:blip r:embed="rId18"/>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43199" y="6606832"/>
            <a:ext cx="8550077" cy="387694"/>
          </a:xfrm>
          <a:prstGeom prst="rect">
            <a:avLst/>
          </a:prstGeom>
        </p:spPr>
        <p:txBody>
          <a:bodyPr vert="horz" lIns="76179" tIns="38089" rIns="76179" bIns="38089" rtlCol="0" anchor="ctr"/>
          <a:lstStyle>
            <a:lvl1pPr algn="ctr">
              <a:defRPr sz="816">
                <a:solidFill>
                  <a:schemeClr val="tx1"/>
                </a:solidFill>
                <a:latin typeface="Segoe UI" pitchFamily="34" charset="0"/>
                <a:ea typeface="Segoe UI" pitchFamily="34" charset="0"/>
                <a:cs typeface="Segoe UI" pitchFamily="34" charset="0"/>
              </a:defRPr>
            </a:lvl1pPr>
          </a:lstStyle>
          <a:p>
            <a:pPr defTabSz="1109758"/>
            <a:endParaRPr lang="en-US" dirty="0">
              <a:solidFill>
                <a:srgbClr val="505050"/>
              </a:solidFill>
            </a:endParaRPr>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439937" y="6606832"/>
            <a:ext cx="777278" cy="387693"/>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183220955"/>
      </p:ext>
    </p:extLst>
  </p:cSld>
  <p:clrMap bg1="lt1" tx1="dk1" bg2="lt2" tx2="dk2" accent1="accent1" accent2="accent2" accent3="accent3" accent4="accent4" accent5="accent5" accent6="accent6" hlink="hlink" folHlink="folHlink"/>
  <p:sldLayoutIdLst>
    <p:sldLayoutId id="2147484546" r:id="rId1"/>
    <p:sldLayoutId id="2147484547" r:id="rId2"/>
    <p:sldLayoutId id="2147484548" r:id="rId3"/>
    <p:sldLayoutId id="2147484549" r:id="rId4"/>
    <p:sldLayoutId id="2147484550" r:id="rId5"/>
    <p:sldLayoutId id="2147484551" r:id="rId6"/>
    <p:sldLayoutId id="2147484552" r:id="rId7"/>
    <p:sldLayoutId id="2147484553" r:id="rId8"/>
    <p:sldLayoutId id="2147484554" r:id="rId9"/>
    <p:sldLayoutId id="2147484555" r:id="rId10"/>
    <p:sldLayoutId id="2147484556" r:id="rId11"/>
    <p:sldLayoutId id="2147484557" r:id="rId12"/>
    <p:sldLayoutId id="2147484558" r:id="rId13"/>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93C52C2B-7042-40BF-8872-17B0983F4A66}" type="datetimeFigureOut">
              <a:rPr lang="en-US" smtClean="0"/>
              <a:t>3/28/2017</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B5E599B2-8D78-41B7-BDF2-E3ADBE2383B9}" type="slidenum">
              <a:rPr lang="en-US" smtClean="0"/>
              <a:t>‹#›</a:t>
            </a:fld>
            <a:endParaRPr lang="en-US"/>
          </a:p>
        </p:txBody>
      </p:sp>
    </p:spTree>
    <p:extLst>
      <p:ext uri="{BB962C8B-B14F-4D97-AF65-F5344CB8AC3E}">
        <p14:creationId xmlns:p14="http://schemas.microsoft.com/office/powerpoint/2010/main" val="211771660"/>
      </p:ext>
    </p:extLst>
  </p:cSld>
  <p:clrMap bg1="lt1" tx1="dk1" bg2="lt2" tx2="dk2" accent1="accent1" accent2="accent2" accent3="accent3" accent4="accent4" accent5="accent5" accent6="accent6" hlink="hlink" folHlink="folHlink"/>
  <p:sldLayoutIdLst>
    <p:sldLayoutId id="2147484560" r:id="rId1"/>
    <p:sldLayoutId id="2147484561" r:id="rId2"/>
    <p:sldLayoutId id="2147484562" r:id="rId3"/>
    <p:sldLayoutId id="2147484563" r:id="rId4"/>
    <p:sldLayoutId id="2147484564" r:id="rId5"/>
    <p:sldLayoutId id="2147484565" r:id="rId6"/>
    <p:sldLayoutId id="2147484566" r:id="rId7"/>
    <p:sldLayoutId id="2147484567" r:id="rId8"/>
    <p:sldLayoutId id="2147484568" r:id="rId9"/>
    <p:sldLayoutId id="2147484569" r:id="rId10"/>
    <p:sldLayoutId id="2147484570" r:id="rId11"/>
    <p:sldLayoutId id="2147484571" r:id="rId12"/>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1025"/>
          <p:cNvSpPr>
            <a:spLocks noGrp="1" noChangeArrowheads="1"/>
          </p:cNvSpPr>
          <p:nvPr>
            <p:ph type="body" idx="1"/>
          </p:nvPr>
        </p:nvSpPr>
        <p:spPr bwMode="auto">
          <a:xfrm>
            <a:off x="621824" y="1398905"/>
            <a:ext cx="11192828" cy="4896168"/>
          </a:xfrm>
          <a:prstGeom prst="rect">
            <a:avLst/>
          </a:prstGeom>
          <a:noFill/>
          <a:ln w="9525">
            <a:noFill/>
            <a:miter lim="800000"/>
            <a:headEnd/>
            <a:tailEnd/>
          </a:ln>
        </p:spPr>
        <p:txBody>
          <a:bodyPr vert="horz" wrap="square" lIns="91438" tIns="45719" rIns="91438" bIns="45719"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8" name="Rectangle 1026"/>
          <p:cNvSpPr>
            <a:spLocks noGrp="1" noChangeArrowheads="1"/>
          </p:cNvSpPr>
          <p:nvPr>
            <p:ph type="title"/>
          </p:nvPr>
        </p:nvSpPr>
        <p:spPr bwMode="auto">
          <a:xfrm>
            <a:off x="621824" y="310868"/>
            <a:ext cx="11192828" cy="777169"/>
          </a:xfrm>
          <a:prstGeom prst="rect">
            <a:avLst/>
          </a:prstGeom>
          <a:noFill/>
          <a:ln w="9525">
            <a:noFill/>
            <a:miter lim="800000"/>
            <a:headEnd/>
            <a:tailEnd/>
          </a:ln>
        </p:spPr>
        <p:txBody>
          <a:bodyPr vert="horz" wrap="square" lIns="91438" tIns="45719" rIns="91438" bIns="45719" numCol="1" anchor="ctr" anchorCtr="0" compatLnSpc="1">
            <a:prstTxWarp prst="textNoShape">
              <a:avLst/>
            </a:prstTxWarp>
          </a:bodyPr>
          <a:lstStyle/>
          <a:p>
            <a:pPr lvl="0"/>
            <a:r>
              <a:rPr lang="en-US" dirty="0"/>
              <a:t>Click to edit Master title style</a:t>
            </a:r>
          </a:p>
        </p:txBody>
      </p:sp>
    </p:spTree>
    <p:extLst>
      <p:ext uri="{BB962C8B-B14F-4D97-AF65-F5344CB8AC3E}">
        <p14:creationId xmlns:p14="http://schemas.microsoft.com/office/powerpoint/2010/main" val="3601053953"/>
      </p:ext>
    </p:extLst>
  </p:cSld>
  <p:clrMap bg1="lt1" tx1="dk1" bg2="lt2" tx2="dk2" accent1="accent1" accent2="accent2" accent3="accent3" accent4="accent4" accent5="accent5" accent6="accent6" hlink="hlink" folHlink="folHlink"/>
  <p:sldLayoutIdLst>
    <p:sldLayoutId id="2147484573" r:id="rId1"/>
    <p:sldLayoutId id="2147484574" r:id="rId2"/>
    <p:sldLayoutId id="2147484575" r:id="rId3"/>
  </p:sldLayoutIdLst>
  <p:transition>
    <p:fade/>
  </p:transition>
  <p:hf hdr="0" ftr="0" dt="0"/>
  <p:txStyles>
    <p:titleStyle>
      <a:lvl1pPr marL="0" indent="0" algn="ctr" defTabSz="-18864709" rtl="0" eaLnBrk="1" fontAlgn="base" hangingPunct="1">
        <a:spcBef>
          <a:spcPct val="0"/>
        </a:spcBef>
        <a:spcAft>
          <a:spcPct val="0"/>
        </a:spcAft>
        <a:defRPr lang="en-US" sz="3807" b="0" dirty="0" smtClean="0">
          <a:solidFill>
            <a:schemeClr val="tx1"/>
          </a:solidFill>
          <a:latin typeface="Calibri"/>
          <a:ea typeface="+mj-ea"/>
          <a:cs typeface="Segoe UI" pitchFamily="34" charset="0"/>
        </a:defRPr>
      </a:lvl1pPr>
      <a:lvl2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2pPr>
      <a:lvl3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3pPr>
      <a:lvl4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4pPr>
      <a:lvl5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5pPr>
      <a:lvl6pPr marL="621700" algn="l" eaLnBrk="1" fontAlgn="base" hangingPunct="1">
        <a:spcBef>
          <a:spcPct val="0"/>
        </a:spcBef>
        <a:spcAft>
          <a:spcPct val="0"/>
        </a:spcAft>
        <a:defRPr sz="3807" b="1">
          <a:solidFill>
            <a:schemeClr val="tx2">
              <a:alpha val="100000"/>
            </a:schemeClr>
          </a:solidFill>
          <a:latin typeface="Verdana"/>
        </a:defRPr>
      </a:lvl6pPr>
      <a:lvl7pPr marL="1243401" algn="l" eaLnBrk="1" fontAlgn="base" hangingPunct="1">
        <a:spcBef>
          <a:spcPct val="0"/>
        </a:spcBef>
        <a:spcAft>
          <a:spcPct val="0"/>
        </a:spcAft>
        <a:defRPr sz="3807" b="1">
          <a:solidFill>
            <a:schemeClr val="tx2">
              <a:alpha val="100000"/>
            </a:schemeClr>
          </a:solidFill>
          <a:latin typeface="Verdana"/>
        </a:defRPr>
      </a:lvl7pPr>
      <a:lvl8pPr marL="1865100" algn="l" eaLnBrk="1" fontAlgn="base" hangingPunct="1">
        <a:spcBef>
          <a:spcPct val="0"/>
        </a:spcBef>
        <a:spcAft>
          <a:spcPct val="0"/>
        </a:spcAft>
        <a:defRPr sz="3807" b="1">
          <a:solidFill>
            <a:schemeClr val="tx2">
              <a:alpha val="100000"/>
            </a:schemeClr>
          </a:solidFill>
          <a:latin typeface="Verdana"/>
        </a:defRPr>
      </a:lvl8pPr>
      <a:lvl9pPr marL="2486800" algn="l" eaLnBrk="1" fontAlgn="base" hangingPunct="1">
        <a:spcBef>
          <a:spcPct val="0"/>
        </a:spcBef>
        <a:spcAft>
          <a:spcPct val="0"/>
        </a:spcAft>
        <a:defRPr sz="3807" b="1">
          <a:solidFill>
            <a:schemeClr val="tx2">
              <a:alpha val="100000"/>
            </a:schemeClr>
          </a:solidFill>
          <a:latin typeface="Verdana"/>
        </a:defRPr>
      </a:lvl9pPr>
    </p:titleStyle>
    <p:bodyStyle>
      <a:lvl1pPr marL="466276" indent="-466276" algn="l" defTabSz="-18864709" rtl="0" eaLnBrk="1" fontAlgn="base" hangingPunct="1">
        <a:spcBef>
          <a:spcPts val="408"/>
        </a:spcBef>
        <a:spcAft>
          <a:spcPct val="0"/>
        </a:spcAft>
        <a:buFont typeface="Wingdings" pitchFamily="2" charset="2"/>
        <a:buChar char="§"/>
        <a:defRPr sz="2720" b="1">
          <a:solidFill>
            <a:schemeClr val="tx1"/>
          </a:solidFill>
          <a:latin typeface="Calibri" pitchFamily="34" charset="0"/>
          <a:ea typeface="+mn-ea"/>
          <a:cs typeface="Segoe UI" pitchFamily="34" charset="0"/>
        </a:defRPr>
      </a:lvl1pPr>
      <a:lvl2pPr marL="1010262" indent="-388563" algn="l" defTabSz="-18864709" rtl="0" eaLnBrk="1" fontAlgn="base" hangingPunct="1">
        <a:spcBef>
          <a:spcPts val="408"/>
        </a:spcBef>
        <a:spcAft>
          <a:spcPct val="0"/>
        </a:spcAft>
        <a:buSzPct val="50000"/>
        <a:buFont typeface="Wingdings" pitchFamily="2" charset="2"/>
        <a:buChar char="o"/>
        <a:defRPr sz="2448">
          <a:solidFill>
            <a:schemeClr val="tx1"/>
          </a:solidFill>
          <a:latin typeface="Calibri Light" pitchFamily="34" charset="0"/>
          <a:cs typeface="Segoe UI" pitchFamily="34" charset="0"/>
        </a:defRPr>
      </a:lvl2pPr>
      <a:lvl3pPr marL="1554251" indent="-310849" algn="l" defTabSz="-18864709" rtl="0" eaLnBrk="1" fontAlgn="base" hangingPunct="1">
        <a:spcBef>
          <a:spcPts val="408"/>
        </a:spcBef>
        <a:spcAft>
          <a:spcPct val="0"/>
        </a:spcAft>
        <a:buSzPct val="50000"/>
        <a:buFont typeface="Wingdings" pitchFamily="2" charset="2"/>
        <a:buChar char="o"/>
        <a:defRPr sz="2175">
          <a:solidFill>
            <a:schemeClr val="tx1"/>
          </a:solidFill>
          <a:latin typeface="Calibri Light" pitchFamily="34" charset="0"/>
          <a:cs typeface="Segoe UI" pitchFamily="34" charset="0"/>
        </a:defRPr>
      </a:lvl3pPr>
      <a:lvl4pPr marL="2175950" indent="-310849" algn="l" defTabSz="-18864709" rtl="0" eaLnBrk="1" fontAlgn="base" hangingPunct="1">
        <a:spcBef>
          <a:spcPts val="408"/>
        </a:spcBef>
        <a:spcAft>
          <a:spcPct val="0"/>
        </a:spcAft>
        <a:buSzPct val="50000"/>
        <a:buFont typeface="Wingdings" pitchFamily="2" charset="2"/>
        <a:buChar char="o"/>
        <a:defRPr sz="1904">
          <a:solidFill>
            <a:schemeClr val="tx1"/>
          </a:solidFill>
          <a:latin typeface="Calibri Light" pitchFamily="34" charset="0"/>
          <a:cs typeface="Segoe UI" pitchFamily="34" charset="0"/>
        </a:defRPr>
      </a:lvl4pPr>
      <a:lvl5pPr marL="2797649" indent="-310849" algn="l" defTabSz="-18864709" rtl="0" eaLnBrk="1" fontAlgn="base" hangingPunct="1">
        <a:spcBef>
          <a:spcPts val="408"/>
        </a:spcBef>
        <a:spcAft>
          <a:spcPct val="0"/>
        </a:spcAft>
        <a:buSzPct val="50000"/>
        <a:buFont typeface="Wingdings" pitchFamily="2" charset="2"/>
        <a:buChar char="o"/>
        <a:defRPr sz="1632">
          <a:solidFill>
            <a:schemeClr val="tx1"/>
          </a:solidFill>
          <a:latin typeface="Calibri Light" pitchFamily="34" charset="0"/>
          <a:cs typeface="Segoe UI" pitchFamily="34" charset="0"/>
        </a:defRPr>
      </a:lvl5pPr>
      <a:lvl6pPr marL="3419349"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6pPr>
      <a:lvl7pPr marL="40410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7pPr>
      <a:lvl8pPr marL="46627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8pPr>
      <a:lvl9pPr marL="52844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9pPr>
    </p:bodyStyle>
    <p:otherStyle>
      <a:lvl1pPr algn="l" eaLnBrk="1" fontAlgn="base" hangingPunct="1">
        <a:spcBef>
          <a:spcPct val="0"/>
        </a:spcBef>
        <a:spcAft>
          <a:spcPct val="0"/>
        </a:spcAft>
        <a:defRPr>
          <a:solidFill>
            <a:schemeClr val="tx1">
              <a:alpha val="100000"/>
            </a:schemeClr>
          </a:solidFill>
          <a:latin typeface="Arial"/>
        </a:defRPr>
      </a:lvl1pPr>
      <a:lvl2pPr marL="621700" algn="l" eaLnBrk="1" fontAlgn="base" hangingPunct="1">
        <a:spcBef>
          <a:spcPct val="0"/>
        </a:spcBef>
        <a:spcAft>
          <a:spcPct val="0"/>
        </a:spcAft>
        <a:defRPr>
          <a:solidFill>
            <a:schemeClr val="tx1">
              <a:alpha val="100000"/>
            </a:schemeClr>
          </a:solidFill>
          <a:latin typeface="Arial"/>
        </a:defRPr>
      </a:lvl2pPr>
      <a:lvl3pPr marL="1243401" algn="l" eaLnBrk="1" fontAlgn="base" hangingPunct="1">
        <a:spcBef>
          <a:spcPct val="0"/>
        </a:spcBef>
        <a:spcAft>
          <a:spcPct val="0"/>
        </a:spcAft>
        <a:defRPr>
          <a:solidFill>
            <a:schemeClr val="tx1">
              <a:alpha val="100000"/>
            </a:schemeClr>
          </a:solidFill>
          <a:latin typeface="Arial"/>
        </a:defRPr>
      </a:lvl3pPr>
      <a:lvl4pPr marL="1865100" algn="l" eaLnBrk="1" fontAlgn="base" hangingPunct="1">
        <a:spcBef>
          <a:spcPct val="0"/>
        </a:spcBef>
        <a:spcAft>
          <a:spcPct val="0"/>
        </a:spcAft>
        <a:defRPr>
          <a:solidFill>
            <a:schemeClr val="tx1">
              <a:alpha val="100000"/>
            </a:schemeClr>
          </a:solidFill>
          <a:latin typeface="Arial"/>
        </a:defRPr>
      </a:lvl4pPr>
      <a:lvl5pPr marL="2486800" algn="l" eaLnBrk="1" fontAlgn="base" hangingPunct="1">
        <a:spcBef>
          <a:spcPct val="0"/>
        </a:spcBef>
        <a:spcAft>
          <a:spcPct val="0"/>
        </a:spcAft>
        <a:defRPr>
          <a:solidFill>
            <a:schemeClr val="tx1">
              <a:alpha val="100000"/>
            </a:schemeClr>
          </a:solidFill>
          <a:latin typeface="Arial"/>
        </a:defRPr>
      </a:lvl5pPr>
      <a:lvl6pPr marL="3108500" algn="l" eaLnBrk="1" fontAlgn="base" hangingPunct="1">
        <a:spcBef>
          <a:spcPct val="0"/>
        </a:spcBef>
        <a:spcAft>
          <a:spcPct val="0"/>
        </a:spcAft>
        <a:defRPr>
          <a:solidFill>
            <a:schemeClr val="tx1">
              <a:alpha val="100000"/>
            </a:schemeClr>
          </a:solidFill>
          <a:latin typeface="Arial"/>
        </a:defRPr>
      </a:lvl6pPr>
      <a:lvl7pPr marL="3730201" algn="l" eaLnBrk="1" fontAlgn="base" hangingPunct="1">
        <a:spcBef>
          <a:spcPct val="0"/>
        </a:spcBef>
        <a:spcAft>
          <a:spcPct val="0"/>
        </a:spcAft>
        <a:defRPr>
          <a:solidFill>
            <a:schemeClr val="tx1">
              <a:alpha val="100000"/>
            </a:schemeClr>
          </a:solidFill>
          <a:latin typeface="Arial"/>
        </a:defRPr>
      </a:lvl7pPr>
      <a:lvl8pPr marL="4351900" algn="l" eaLnBrk="1" fontAlgn="base" hangingPunct="1">
        <a:spcBef>
          <a:spcPct val="0"/>
        </a:spcBef>
        <a:spcAft>
          <a:spcPct val="0"/>
        </a:spcAft>
        <a:defRPr>
          <a:solidFill>
            <a:schemeClr val="tx1">
              <a:alpha val="100000"/>
            </a:schemeClr>
          </a:solidFill>
          <a:latin typeface="Arial"/>
        </a:defRPr>
      </a:lvl8pPr>
      <a:lvl9pPr marL="4973600" algn="l" eaLnBrk="1" fontAlgn="base" hangingPunct="1">
        <a:spcBef>
          <a:spcPct val="0"/>
        </a:spcBef>
        <a:spcAft>
          <a:spcPct val="0"/>
        </a:spcAft>
        <a:defRPr>
          <a:solidFill>
            <a:schemeClr val="tx1">
              <a:alpha val="100000"/>
            </a:schemeClr>
          </a:solidFill>
          <a:latin typeface="Arial"/>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9.emf"/><Relationship Id="rId3" Type="http://schemas.openxmlformats.org/officeDocument/2006/relationships/slideLayout" Target="../slideLayouts/slideLayout29.xml"/><Relationship Id="rId7" Type="http://schemas.openxmlformats.org/officeDocument/2006/relationships/image" Target="../media/image18.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7.emf"/><Relationship Id="rId5" Type="http://schemas.openxmlformats.org/officeDocument/2006/relationships/oleObject" Target="../embeddings/oleObject2.bin"/><Relationship Id="rId4" Type="http://schemas.openxmlformats.org/officeDocument/2006/relationships/notesSlide" Target="../notesSlides/notesSlide1.xml"/><Relationship Id="rId9" Type="http://schemas.openxmlformats.org/officeDocument/2006/relationships/image" Target="../media/image20.emf"/></Relationships>
</file>

<file path=ppt/slides/_rels/slide1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0.xml"/><Relationship Id="rId1" Type="http://schemas.openxmlformats.org/officeDocument/2006/relationships/slideLayout" Target="../slideLayouts/slideLayout12.xml"/><Relationship Id="rId4" Type="http://schemas.openxmlformats.org/officeDocument/2006/relationships/image" Target="../media/image37.png"/></Relationships>
</file>

<file path=ppt/slides/_rels/slide1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3.xml"/><Relationship Id="rId1" Type="http://schemas.openxmlformats.org/officeDocument/2006/relationships/slideLayout" Target="../slideLayouts/slideLayout15.xml"/><Relationship Id="rId4" Type="http://schemas.openxmlformats.org/officeDocument/2006/relationships/image" Target="../media/image40.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6.xml"/><Relationship Id="rId1" Type="http://schemas.openxmlformats.org/officeDocument/2006/relationships/slideLayout" Target="../slideLayouts/slideLayout16.xml"/><Relationship Id="rId5" Type="http://schemas.openxmlformats.org/officeDocument/2006/relationships/image" Target="../media/image43.png"/><Relationship Id="rId4" Type="http://schemas.openxmlformats.org/officeDocument/2006/relationships/image" Target="../media/image42.png"/></Relationships>
</file>

<file path=ppt/slides/_rels/slide1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7.xm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8.xml"/><Relationship Id="rId1" Type="http://schemas.openxmlformats.org/officeDocument/2006/relationships/slideLayout" Target="../slideLayouts/slideLayout16.xml"/><Relationship Id="rId5" Type="http://schemas.microsoft.com/office/2007/relationships/hdphoto" Target="../media/hdphoto2.wdp"/><Relationship Id="rId4" Type="http://schemas.openxmlformats.org/officeDocument/2006/relationships/image" Target="../media/image46.png"/></Relationships>
</file>

<file path=ppt/slides/_rels/slide19.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19.xml"/><Relationship Id="rId1" Type="http://schemas.openxmlformats.org/officeDocument/2006/relationships/slideLayout" Target="../slideLayouts/slideLayout11.xml"/><Relationship Id="rId4" Type="http://schemas.openxmlformats.org/officeDocument/2006/relationships/image" Target="../media/image34.emf"/></Relationships>
</file>

<file path=ppt/slides/_rels/slide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50.png"/><Relationship Id="rId7" Type="http://schemas.openxmlformats.org/officeDocument/2006/relationships/image" Target="../media/image54.png"/><Relationship Id="rId2" Type="http://schemas.openxmlformats.org/officeDocument/2006/relationships/notesSlide" Target="../notesSlides/notesSlide25.xml"/><Relationship Id="rId1" Type="http://schemas.openxmlformats.org/officeDocument/2006/relationships/slideLayout" Target="../slideLayouts/slideLayout3.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2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6.xml"/><Relationship Id="rId1" Type="http://schemas.openxmlformats.org/officeDocument/2006/relationships/slideLayout" Target="../slideLayouts/slideLayout3.xml"/><Relationship Id="rId4" Type="http://schemas.openxmlformats.org/officeDocument/2006/relationships/image" Target="../media/image57.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3.xml"/><Relationship Id="rId1" Type="http://schemas.openxmlformats.org/officeDocument/2006/relationships/slideLayout" Target="../slideLayouts/slideLayout38.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32.xml"/><Relationship Id="rId1" Type="http://schemas.openxmlformats.org/officeDocument/2006/relationships/slideLayout" Target="../slideLayouts/slideLayout22.xml"/><Relationship Id="rId5" Type="http://schemas.openxmlformats.org/officeDocument/2006/relationships/image" Target="../media/image63.png"/><Relationship Id="rId4" Type="http://schemas.openxmlformats.org/officeDocument/2006/relationships/image" Target="../media/image62.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4.xml"/><Relationship Id="rId1" Type="http://schemas.openxmlformats.org/officeDocument/2006/relationships/slideLayout" Target="../slideLayouts/slideLayout3.xml"/><Relationship Id="rId4" Type="http://schemas.openxmlformats.org/officeDocument/2006/relationships/image" Target="../media/image65.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37.xml"/><Relationship Id="rId1" Type="http://schemas.openxmlformats.org/officeDocument/2006/relationships/slideLayout" Target="../slideLayouts/slideLayout22.xml"/><Relationship Id="rId5" Type="http://schemas.openxmlformats.org/officeDocument/2006/relationships/image" Target="../media/image63.png"/><Relationship Id="rId4" Type="http://schemas.openxmlformats.org/officeDocument/2006/relationships/image" Target="../media/image62.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5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0.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40.xml"/><Relationship Id="rId1" Type="http://schemas.openxmlformats.org/officeDocument/2006/relationships/slideLayout" Target="../slideLayouts/slideLayout22.xml"/><Relationship Id="rId5" Type="http://schemas.openxmlformats.org/officeDocument/2006/relationships/image" Target="../media/image63.png"/><Relationship Id="rId4" Type="http://schemas.openxmlformats.org/officeDocument/2006/relationships/image" Target="../media/image62.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43.xml"/><Relationship Id="rId1" Type="http://schemas.openxmlformats.org/officeDocument/2006/relationships/slideLayout" Target="../slideLayouts/slideLayout22.xml"/><Relationship Id="rId5" Type="http://schemas.openxmlformats.org/officeDocument/2006/relationships/image" Target="../media/image63.png"/><Relationship Id="rId4" Type="http://schemas.openxmlformats.org/officeDocument/2006/relationships/image" Target="../media/image62.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45.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46.xml"/><Relationship Id="rId1" Type="http://schemas.openxmlformats.org/officeDocument/2006/relationships/slideLayout" Target="../slideLayouts/slideLayout17.xml"/></Relationships>
</file>

<file path=ppt/slides/_rels/slide47.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47.xml"/><Relationship Id="rId1" Type="http://schemas.openxmlformats.org/officeDocument/2006/relationships/slideLayout" Target="../slideLayouts/slideLayout22.xml"/><Relationship Id="rId5" Type="http://schemas.openxmlformats.org/officeDocument/2006/relationships/image" Target="../media/image63.png"/><Relationship Id="rId4" Type="http://schemas.openxmlformats.org/officeDocument/2006/relationships/image" Target="../media/image62.pn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5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6.xml"/><Relationship Id="rId1" Type="http://schemas.openxmlformats.org/officeDocument/2006/relationships/slideLayout" Target="../slideLayouts/slideLayout11.xml"/><Relationship Id="rId4" Type="http://schemas.openxmlformats.org/officeDocument/2006/relationships/image" Target="../media/image34.emf"/></Relationships>
</file>

<file path=ppt/slides/_rels/slide7.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9.xml"/><Relationship Id="rId1" Type="http://schemas.openxmlformats.org/officeDocument/2006/relationships/slideLayout" Target="../slideLayouts/slideLayout11.xml"/><Relationship Id="rId4" Type="http://schemas.openxmlformats.org/officeDocument/2006/relationships/image" Target="../media/image34.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2072"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4122" y="1620"/>
                        <a:ext cx="1619" cy="1619"/>
                      </a:xfrm>
                      <a:prstGeom prst="rect">
                        <a:avLst/>
                      </a:prstGeom>
                    </p:spPr>
                  </p:pic>
                </p:oleObj>
              </mc:Fallback>
            </mc:AlternateContent>
          </a:graphicData>
        </a:graphic>
      </p:graphicFrame>
      <p:grpSp>
        <p:nvGrpSpPr>
          <p:cNvPr id="852" name="Group 851"/>
          <p:cNvGrpSpPr/>
          <p:nvPr/>
        </p:nvGrpSpPr>
        <p:grpSpPr>
          <a:xfrm>
            <a:off x="8649742" y="955816"/>
            <a:ext cx="1826854" cy="1826850"/>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defTabSz="755481"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defTabSz="755481"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defTabSz="1243196"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defTabSz="1243196"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endParaRPr>
            </a:p>
          </p:txBody>
        </p:sp>
      </p:grpSp>
      <p:sp>
        <p:nvSpPr>
          <p:cNvPr id="831" name="Freeform 830"/>
          <p:cNvSpPr/>
          <p:nvPr/>
        </p:nvSpPr>
        <p:spPr>
          <a:xfrm rot="18900000">
            <a:off x="2292982" y="2959300"/>
            <a:ext cx="200769" cy="766144"/>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2" name="Freeform 831"/>
          <p:cNvSpPr/>
          <p:nvPr/>
        </p:nvSpPr>
        <p:spPr>
          <a:xfrm rot="18900000">
            <a:off x="2413872" y="2762932"/>
            <a:ext cx="323821" cy="1111555"/>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3" name="Freeform 832"/>
          <p:cNvSpPr/>
          <p:nvPr/>
        </p:nvSpPr>
        <p:spPr>
          <a:xfrm rot="18900000">
            <a:off x="2451570" y="2725986"/>
            <a:ext cx="408014" cy="1280924"/>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4" name="Freeform 833"/>
          <p:cNvSpPr/>
          <p:nvPr/>
        </p:nvSpPr>
        <p:spPr>
          <a:xfrm rot="18900000">
            <a:off x="2510146" y="2655729"/>
            <a:ext cx="304391" cy="108692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5" name="Freeform 834"/>
          <p:cNvSpPr/>
          <p:nvPr/>
        </p:nvSpPr>
        <p:spPr>
          <a:xfrm rot="18900000">
            <a:off x="2609360" y="2586466"/>
            <a:ext cx="316921" cy="1261790"/>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6" name="Freeform 835"/>
          <p:cNvSpPr/>
          <p:nvPr/>
        </p:nvSpPr>
        <p:spPr>
          <a:xfrm rot="18900000">
            <a:off x="2576769" y="2562149"/>
            <a:ext cx="307630" cy="103962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7" name="Freeform 836"/>
          <p:cNvSpPr/>
          <p:nvPr/>
        </p:nvSpPr>
        <p:spPr>
          <a:xfrm rot="18900000">
            <a:off x="2706353" y="2453367"/>
            <a:ext cx="307786" cy="129054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42" name="Freeform 841"/>
          <p:cNvSpPr/>
          <p:nvPr/>
        </p:nvSpPr>
        <p:spPr>
          <a:xfrm rot="18900000">
            <a:off x="2705312" y="2275062"/>
            <a:ext cx="529446" cy="122239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58" name="Freeform 457"/>
          <p:cNvSpPr/>
          <p:nvPr/>
        </p:nvSpPr>
        <p:spPr>
          <a:xfrm rot="8100000" flipV="1">
            <a:off x="4273849" y="-477648"/>
            <a:ext cx="835457" cy="3089249"/>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59" name="Freeform 458"/>
          <p:cNvSpPr/>
          <p:nvPr/>
        </p:nvSpPr>
        <p:spPr>
          <a:xfrm rot="8100000" flipV="1">
            <a:off x="3532685" y="-107838"/>
            <a:ext cx="783646" cy="1126896"/>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0" name="Freeform 459"/>
          <p:cNvSpPr/>
          <p:nvPr/>
        </p:nvSpPr>
        <p:spPr>
          <a:xfrm rot="8100000" flipV="1">
            <a:off x="2912641" y="-245750"/>
            <a:ext cx="1301051" cy="1750170"/>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1" name="Freeform 460"/>
          <p:cNvSpPr/>
          <p:nvPr/>
        </p:nvSpPr>
        <p:spPr>
          <a:xfrm rot="8100000" flipV="1">
            <a:off x="3487937" y="-296281"/>
            <a:ext cx="1335062" cy="3372781"/>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2" name="Freeform 461"/>
          <p:cNvSpPr/>
          <p:nvPr/>
        </p:nvSpPr>
        <p:spPr>
          <a:xfrm rot="8100000" flipV="1">
            <a:off x="6045881" y="2197642"/>
            <a:ext cx="1176135" cy="1375285"/>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3" name="Freeform 462"/>
          <p:cNvSpPr/>
          <p:nvPr/>
        </p:nvSpPr>
        <p:spPr>
          <a:xfrm rot="8100000" flipV="1">
            <a:off x="2543201" y="886433"/>
            <a:ext cx="1590554" cy="1085651"/>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4" name="Freeform 463"/>
          <p:cNvSpPr/>
          <p:nvPr/>
        </p:nvSpPr>
        <p:spPr>
          <a:xfrm rot="8100000" flipV="1">
            <a:off x="2688484" y="945248"/>
            <a:ext cx="1517205" cy="1424972"/>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5" name="Freeform 464"/>
          <p:cNvSpPr/>
          <p:nvPr/>
        </p:nvSpPr>
        <p:spPr>
          <a:xfrm rot="8100000" flipV="1">
            <a:off x="2766617" y="1138593"/>
            <a:ext cx="1502491" cy="1433794"/>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6" name="Freeform 465"/>
          <p:cNvSpPr/>
          <p:nvPr/>
        </p:nvSpPr>
        <p:spPr>
          <a:xfrm rot="8100000" flipV="1">
            <a:off x="3075753" y="574028"/>
            <a:ext cx="2697060" cy="2802963"/>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7" name="Freeform 466"/>
          <p:cNvSpPr/>
          <p:nvPr/>
        </p:nvSpPr>
        <p:spPr>
          <a:xfrm rot="8100000" flipV="1">
            <a:off x="3118091" y="626835"/>
            <a:ext cx="2615952" cy="2883625"/>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8" name="Freeform 467"/>
          <p:cNvSpPr/>
          <p:nvPr/>
        </p:nvSpPr>
        <p:spPr>
          <a:xfrm rot="8100000" flipV="1">
            <a:off x="3146953" y="696373"/>
            <a:ext cx="2536712" cy="295167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9" name="Freeform 468"/>
          <p:cNvSpPr/>
          <p:nvPr/>
        </p:nvSpPr>
        <p:spPr>
          <a:xfrm rot="8100000" flipV="1">
            <a:off x="3033507" y="1064242"/>
            <a:ext cx="1871848" cy="2293580"/>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70" name="Freeform 469"/>
          <p:cNvSpPr/>
          <p:nvPr/>
        </p:nvSpPr>
        <p:spPr>
          <a:xfrm rot="8100000" flipV="1">
            <a:off x="2980744" y="1196655"/>
            <a:ext cx="1704199" cy="210924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72" name="Freeform 471"/>
          <p:cNvSpPr/>
          <p:nvPr/>
        </p:nvSpPr>
        <p:spPr>
          <a:xfrm>
            <a:off x="9459682" y="1450717"/>
            <a:ext cx="2977530" cy="2574374"/>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477" name="Freeform 476"/>
          <p:cNvSpPr/>
          <p:nvPr/>
        </p:nvSpPr>
        <p:spPr>
          <a:xfrm>
            <a:off x="9624832" y="2436752"/>
            <a:ext cx="2812381" cy="162719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478" name="Freeform 477"/>
          <p:cNvSpPr/>
          <p:nvPr/>
        </p:nvSpPr>
        <p:spPr>
          <a:xfrm>
            <a:off x="9853125" y="2519325"/>
            <a:ext cx="2574374" cy="1714631"/>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675" name="Freeform 674"/>
          <p:cNvSpPr/>
          <p:nvPr/>
        </p:nvSpPr>
        <p:spPr>
          <a:xfrm>
            <a:off x="9930842" y="3325637"/>
            <a:ext cx="2511229" cy="1612627"/>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76" name="Freeform 675"/>
          <p:cNvSpPr/>
          <p:nvPr/>
        </p:nvSpPr>
        <p:spPr>
          <a:xfrm>
            <a:off x="8732704" y="3918229"/>
            <a:ext cx="3717461" cy="2681235"/>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77" name="Freeform 676"/>
          <p:cNvSpPr/>
          <p:nvPr/>
        </p:nvSpPr>
        <p:spPr>
          <a:xfrm>
            <a:off x="8654988" y="3982993"/>
            <a:ext cx="3788701" cy="2836668"/>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678" name="Group 677"/>
          <p:cNvGrpSpPr/>
          <p:nvPr/>
        </p:nvGrpSpPr>
        <p:grpSpPr>
          <a:xfrm flipV="1">
            <a:off x="5246865" y="12952"/>
            <a:ext cx="2959720" cy="2260268"/>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sp>
        <p:nvSpPr>
          <p:cNvPr id="679" name="Freeform 678"/>
          <p:cNvSpPr/>
          <p:nvPr/>
        </p:nvSpPr>
        <p:spPr>
          <a:xfrm>
            <a:off x="10669152" y="4203191"/>
            <a:ext cx="1761584" cy="997367"/>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1" name="Freeform 680"/>
          <p:cNvSpPr/>
          <p:nvPr/>
        </p:nvSpPr>
        <p:spPr>
          <a:xfrm>
            <a:off x="7579903" y="4358625"/>
            <a:ext cx="2648853" cy="2668282"/>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2" name="Freeform 681"/>
          <p:cNvSpPr/>
          <p:nvPr/>
        </p:nvSpPr>
        <p:spPr>
          <a:xfrm>
            <a:off x="7145984" y="4481677"/>
            <a:ext cx="2597041" cy="2512848"/>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3" name="Freeform 682"/>
          <p:cNvSpPr/>
          <p:nvPr/>
        </p:nvSpPr>
        <p:spPr>
          <a:xfrm>
            <a:off x="7003502" y="4358625"/>
            <a:ext cx="3030961" cy="2648853"/>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28" name="Freeform 727"/>
          <p:cNvSpPr/>
          <p:nvPr/>
        </p:nvSpPr>
        <p:spPr>
          <a:xfrm rot="8100000" flipH="1" flipV="1">
            <a:off x="5405404" y="3407143"/>
            <a:ext cx="2431569" cy="2317496"/>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76" name="Freeform 775"/>
          <p:cNvSpPr/>
          <p:nvPr/>
        </p:nvSpPr>
        <p:spPr>
          <a:xfrm>
            <a:off x="2375552" y="2588279"/>
            <a:ext cx="2630106" cy="1320370"/>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77" name="Freeform 776"/>
          <p:cNvSpPr/>
          <p:nvPr/>
        </p:nvSpPr>
        <p:spPr>
          <a:xfrm>
            <a:off x="2457553" y="129528"/>
            <a:ext cx="3296002" cy="1414448"/>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0" name="Freeform 779"/>
          <p:cNvSpPr/>
          <p:nvPr/>
        </p:nvSpPr>
        <p:spPr>
          <a:xfrm>
            <a:off x="2474571" y="2223029"/>
            <a:ext cx="2560102" cy="349726"/>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4" name="Freeform 783"/>
          <p:cNvSpPr/>
          <p:nvPr/>
        </p:nvSpPr>
        <p:spPr>
          <a:xfrm>
            <a:off x="6550359" y="2722411"/>
            <a:ext cx="2974513" cy="4299791"/>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5" name="Freeform 784"/>
          <p:cNvSpPr/>
          <p:nvPr/>
        </p:nvSpPr>
        <p:spPr>
          <a:xfrm>
            <a:off x="8926042" y="2702778"/>
            <a:ext cx="137437" cy="2061544"/>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2" name="Freeform 801"/>
          <p:cNvSpPr/>
          <p:nvPr/>
        </p:nvSpPr>
        <p:spPr>
          <a:xfrm>
            <a:off x="2309723" y="1300140"/>
            <a:ext cx="738311" cy="179720"/>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3" name="Freeform 802"/>
          <p:cNvSpPr/>
          <p:nvPr/>
        </p:nvSpPr>
        <p:spPr>
          <a:xfrm>
            <a:off x="2342992" y="1309855"/>
            <a:ext cx="956890" cy="218578"/>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4" name="Freeform 803"/>
          <p:cNvSpPr/>
          <p:nvPr/>
        </p:nvSpPr>
        <p:spPr>
          <a:xfrm>
            <a:off x="3470621" y="1134991"/>
            <a:ext cx="684881" cy="3740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5" name="Freeform 804"/>
          <p:cNvSpPr/>
          <p:nvPr/>
        </p:nvSpPr>
        <p:spPr>
          <a:xfrm>
            <a:off x="8405749" y="2270835"/>
            <a:ext cx="441760" cy="1119124"/>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6" name="Freeform 805"/>
          <p:cNvSpPr/>
          <p:nvPr/>
        </p:nvSpPr>
        <p:spPr>
          <a:xfrm>
            <a:off x="8386114" y="3723731"/>
            <a:ext cx="392675" cy="1099491"/>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7" name="Freeform 806"/>
          <p:cNvSpPr/>
          <p:nvPr/>
        </p:nvSpPr>
        <p:spPr>
          <a:xfrm>
            <a:off x="8405749" y="4037873"/>
            <a:ext cx="235606"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8" name="Freeform 807"/>
          <p:cNvSpPr/>
          <p:nvPr/>
        </p:nvSpPr>
        <p:spPr>
          <a:xfrm>
            <a:off x="624237" y="3717460"/>
            <a:ext cx="6554129" cy="330297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9" name="Freeform 808"/>
          <p:cNvSpPr/>
          <p:nvPr/>
        </p:nvSpPr>
        <p:spPr>
          <a:xfrm>
            <a:off x="779671" y="4054233"/>
            <a:ext cx="6385742" cy="2953244"/>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1" name="Freeform 810"/>
          <p:cNvSpPr/>
          <p:nvPr/>
        </p:nvSpPr>
        <p:spPr>
          <a:xfrm>
            <a:off x="1090539" y="4403960"/>
            <a:ext cx="7033383" cy="2590565"/>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2" name="Freeform 811"/>
          <p:cNvSpPr/>
          <p:nvPr/>
        </p:nvSpPr>
        <p:spPr>
          <a:xfrm>
            <a:off x="7061790" y="4326243"/>
            <a:ext cx="738311" cy="1683867"/>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3" name="Freeform 812"/>
          <p:cNvSpPr/>
          <p:nvPr/>
        </p:nvSpPr>
        <p:spPr>
          <a:xfrm>
            <a:off x="7165413" y="4326243"/>
            <a:ext cx="336773" cy="1204613"/>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4" name="Freeform 813"/>
          <p:cNvSpPr/>
          <p:nvPr/>
        </p:nvSpPr>
        <p:spPr>
          <a:xfrm>
            <a:off x="6933216" y="2319920"/>
            <a:ext cx="873702" cy="814801"/>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5" name="Freeform 814"/>
          <p:cNvSpPr/>
          <p:nvPr/>
        </p:nvSpPr>
        <p:spPr>
          <a:xfrm>
            <a:off x="6933218" y="2162849"/>
            <a:ext cx="1158391" cy="932603"/>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6" name="Freeform 815"/>
          <p:cNvSpPr/>
          <p:nvPr/>
        </p:nvSpPr>
        <p:spPr>
          <a:xfrm>
            <a:off x="6923400" y="2015596"/>
            <a:ext cx="520294"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8" name="Freeform 817"/>
          <p:cNvSpPr/>
          <p:nvPr/>
        </p:nvSpPr>
        <p:spPr>
          <a:xfrm>
            <a:off x="9522827" y="533656"/>
            <a:ext cx="1080266" cy="427443"/>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819" name="Freeform 818"/>
          <p:cNvSpPr/>
          <p:nvPr/>
        </p:nvSpPr>
        <p:spPr>
          <a:xfrm>
            <a:off x="9110927" y="347135"/>
            <a:ext cx="1484394" cy="59842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1157" name="Group 1156"/>
          <p:cNvGrpSpPr/>
          <p:nvPr/>
        </p:nvGrpSpPr>
        <p:grpSpPr>
          <a:xfrm>
            <a:off x="7151576" y="3078735"/>
            <a:ext cx="1268581" cy="1268575"/>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endParaRPr>
              </a:p>
            </p:txBody>
          </p:sp>
        </p:grpSp>
      </p:grpSp>
      <p:sp>
        <p:nvSpPr>
          <p:cNvPr id="448" name="Freeform 447"/>
          <p:cNvSpPr/>
          <p:nvPr/>
        </p:nvSpPr>
        <p:spPr>
          <a:xfrm>
            <a:off x="769758" y="5240659"/>
            <a:ext cx="2548184" cy="167782"/>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9" name="Freeform 788"/>
          <p:cNvSpPr/>
          <p:nvPr/>
        </p:nvSpPr>
        <p:spPr>
          <a:xfrm>
            <a:off x="10387499" y="4947916"/>
            <a:ext cx="277106" cy="399358"/>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90" name="Freeform 789"/>
          <p:cNvSpPr/>
          <p:nvPr/>
        </p:nvSpPr>
        <p:spPr>
          <a:xfrm>
            <a:off x="11104712" y="5102766"/>
            <a:ext cx="163004" cy="26895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91" name="Freeform 790"/>
          <p:cNvSpPr/>
          <p:nvPr/>
        </p:nvSpPr>
        <p:spPr>
          <a:xfrm>
            <a:off x="9368726" y="5714030"/>
            <a:ext cx="676464" cy="823167"/>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03" y="1"/>
            <a:ext cx="2231124" cy="820704"/>
          </a:xfrm>
          <a:prstGeom prst="rect">
            <a:avLst/>
          </a:prstGeom>
        </p:spPr>
      </p:pic>
      <p:sp>
        <p:nvSpPr>
          <p:cNvPr id="4" name="TextBox 3"/>
          <p:cNvSpPr txBox="1"/>
          <p:nvPr/>
        </p:nvSpPr>
        <p:spPr>
          <a:xfrm>
            <a:off x="229691" y="4096004"/>
            <a:ext cx="6314158" cy="2569136"/>
          </a:xfrm>
          <a:prstGeom prst="rect">
            <a:avLst/>
          </a:prstGeom>
        </p:spPr>
        <p:txBody>
          <a:bodyPr vert="horz" wrap="square" lIns="93260" tIns="93260" rIns="93260" bIns="93260" rtlCol="0" anchor="t">
            <a:noAutofit/>
          </a:bodyPr>
          <a:lstStyle/>
          <a:p>
            <a:pPr marL="0" marR="0" lvl="0" indent="0" algn="ctr" defTabSz="932520" eaLnBrk="1" fontAlgn="auto" latinLnBrk="0" hangingPunct="1">
              <a:lnSpc>
                <a:spcPct val="100000"/>
              </a:lnSpc>
              <a:spcBef>
                <a:spcPts val="1224"/>
              </a:spcBef>
              <a:spcAft>
                <a:spcPts val="0"/>
              </a:spcAft>
              <a:buClrTx/>
              <a:buSzTx/>
              <a:buFontTx/>
              <a:buNone/>
              <a:tabLst/>
              <a:defRPr/>
            </a:pPr>
            <a:r>
              <a:rPr kumimoji="0" lang="en-US" sz="3600" b="1" i="0" u="none" strike="noStrike" kern="0" cap="none" spc="0" normalizeH="0" baseline="0" noProof="0" dirty="0">
                <a:ln>
                  <a:noFill/>
                </a:ln>
                <a:solidFill>
                  <a:srgbClr val="0072C6"/>
                </a:solidFill>
                <a:effectLst/>
                <a:uLnTx/>
                <a:uFillTx/>
                <a:latin typeface="Segoe UI Light"/>
              </a:rPr>
              <a:t>The Cortana Intelligence Suite</a:t>
            </a:r>
          </a:p>
          <a:p>
            <a:pPr marL="0" marR="0" lvl="0" indent="0" algn="ctr" defTabSz="932520" eaLnBrk="1" fontAlgn="auto" latinLnBrk="0" hangingPunct="1">
              <a:lnSpc>
                <a:spcPct val="100000"/>
              </a:lnSpc>
              <a:spcBef>
                <a:spcPts val="1224"/>
              </a:spcBef>
              <a:spcAft>
                <a:spcPts val="0"/>
              </a:spcAft>
              <a:buClrTx/>
              <a:buSzTx/>
              <a:buFontTx/>
              <a:buNone/>
              <a:tabLst/>
              <a:defRPr/>
            </a:pPr>
            <a:r>
              <a:rPr kumimoji="0" lang="en-US" sz="2800" b="1" i="0" u="none" strike="noStrike" kern="0" cap="none" spc="-102" normalizeH="0" baseline="0" noProof="0" dirty="0">
                <a:ln w="3175">
                  <a:noFill/>
                </a:ln>
                <a:solidFill>
                  <a:srgbClr val="0072C6"/>
                </a:solidFill>
                <a:effectLst/>
                <a:uLnTx/>
                <a:uFillTx/>
                <a:latin typeface="Segoe UI Light"/>
              </a:rPr>
              <a:t>Foundations – Data Preparation</a:t>
            </a:r>
            <a:endParaRPr kumimoji="0" lang="en-US" sz="2000" b="0" i="0" u="none" strike="noStrike" kern="0" cap="none" spc="0" normalizeH="0" baseline="0" noProof="0" dirty="0">
              <a:ln>
                <a:noFill/>
              </a:ln>
              <a:solidFill>
                <a:srgbClr val="FFFFFF">
                  <a:lumMod val="75000"/>
                </a:srgbClr>
              </a:solidFill>
              <a:effectLst/>
              <a:uLnTx/>
              <a:uFillTx/>
              <a:latin typeface="Segoe UI Light"/>
            </a:endParaRPr>
          </a:p>
          <a:p>
            <a:pPr marL="0" marR="0" lvl="0" indent="0" algn="ctr" defTabSz="914400" eaLnBrk="1" fontAlgn="auto" latinLnBrk="0" hangingPunct="1">
              <a:lnSpc>
                <a:spcPct val="90000"/>
              </a:lnSpc>
              <a:spcBef>
                <a:spcPts val="0"/>
              </a:spcBef>
              <a:spcAft>
                <a:spcPts val="0"/>
              </a:spcAft>
              <a:buClrTx/>
              <a:buSzPct val="90000"/>
              <a:buFontTx/>
              <a:buNone/>
              <a:tabLst/>
              <a:defRPr/>
            </a:pPr>
            <a:endParaRPr kumimoji="0" lang="en-US" sz="2000" b="0" i="0" u="none" strike="noStrike" kern="0" cap="none" spc="0" normalizeH="0" baseline="0" noProof="0" dirty="0">
              <a:ln>
                <a:noFill/>
              </a:ln>
              <a:solidFill>
                <a:schemeClr val="bg1">
                  <a:lumMod val="50000"/>
                </a:schemeClr>
              </a:solidFill>
              <a:effectLst/>
              <a:uLnTx/>
              <a:uFillTx/>
              <a:latin typeface="Segoe UI Light"/>
            </a:endParaRPr>
          </a:p>
          <a:p>
            <a:pPr marL="0" marR="0" lvl="0" indent="0" algn="ctr" defTabSz="914400" eaLnBrk="1" fontAlgn="auto" latinLnBrk="0" hangingPunct="1">
              <a:lnSpc>
                <a:spcPct val="90000"/>
              </a:lnSpc>
              <a:spcBef>
                <a:spcPts val="0"/>
              </a:spcBef>
              <a:spcAft>
                <a:spcPts val="0"/>
              </a:spcAft>
              <a:buClrTx/>
              <a:buSzPct val="90000"/>
              <a:buFontTx/>
              <a:buNone/>
              <a:tabLst/>
              <a:defRPr/>
            </a:pPr>
            <a:r>
              <a:rPr kumimoji="0" lang="en-US" sz="2000" b="0" i="0" u="none" strike="noStrike" kern="0" cap="none" spc="0" normalizeH="0" baseline="0" noProof="0" dirty="0">
                <a:ln>
                  <a:noFill/>
                </a:ln>
                <a:solidFill>
                  <a:schemeClr val="bg1">
                    <a:lumMod val="50000"/>
                  </a:schemeClr>
                </a:solidFill>
                <a:effectLst/>
                <a:uLnTx/>
                <a:uFillTx/>
                <a:latin typeface="Segoe UI Light"/>
              </a:rPr>
              <a:t>Microsoft Machine Learning and Data Science Team</a:t>
            </a:r>
          </a:p>
          <a:p>
            <a:pPr marL="0" marR="0" lvl="0" indent="0" algn="ctr" defTabSz="914400" eaLnBrk="1" fontAlgn="auto" latinLnBrk="0" hangingPunct="1">
              <a:lnSpc>
                <a:spcPct val="90000"/>
              </a:lnSpc>
              <a:spcBef>
                <a:spcPts val="0"/>
              </a:spcBef>
              <a:spcAft>
                <a:spcPts val="0"/>
              </a:spcAft>
              <a:buClrTx/>
              <a:buSzPct val="90000"/>
              <a:buFontTx/>
              <a:buNone/>
              <a:tabLst/>
              <a:defRPr/>
            </a:pPr>
            <a:r>
              <a:rPr kumimoji="0" lang="en-US" sz="2400" b="0" i="0" u="none" strike="noStrike" kern="0" cap="none" spc="0" normalizeH="0" baseline="0" noProof="0" dirty="0">
                <a:ln>
                  <a:noFill/>
                </a:ln>
                <a:solidFill>
                  <a:srgbClr val="00BCF2"/>
                </a:solidFill>
                <a:effectLst/>
                <a:uLnTx/>
                <a:uFillTx/>
                <a:latin typeface="Segoe UI Light"/>
              </a:rPr>
              <a:t>CortanaIntelligence.com</a:t>
            </a:r>
          </a:p>
        </p:txBody>
      </p:sp>
      <p:pic>
        <p:nvPicPr>
          <p:cNvPr id="304" name="Picture 303"/>
          <p:cNvPicPr>
            <a:picLocks noChangeAspect="1"/>
          </p:cNvPicPr>
          <p:nvPr/>
        </p:nvPicPr>
        <p:blipFill>
          <a:blip r:embed="rId8"/>
          <a:stretch>
            <a:fillRect/>
          </a:stretch>
        </p:blipFill>
        <p:spPr>
          <a:xfrm>
            <a:off x="1720531" y="1540725"/>
            <a:ext cx="877740" cy="1586684"/>
          </a:xfrm>
          <a:prstGeom prst="rect">
            <a:avLst/>
          </a:prstGeom>
        </p:spPr>
      </p:pic>
      <p:pic>
        <p:nvPicPr>
          <p:cNvPr id="305" name="Picture 304"/>
          <p:cNvPicPr>
            <a:picLocks noChangeAspect="1"/>
          </p:cNvPicPr>
          <p:nvPr/>
        </p:nvPicPr>
        <p:blipFill>
          <a:blip r:embed="rId9"/>
          <a:stretch>
            <a:fillRect/>
          </a:stretch>
        </p:blipFill>
        <p:spPr>
          <a:xfrm>
            <a:off x="190544" y="736940"/>
            <a:ext cx="2560320" cy="2560320"/>
          </a:xfrm>
          <a:prstGeom prst="rect">
            <a:avLst/>
          </a:prstGeom>
        </p:spPr>
      </p:pic>
      <p:sp>
        <p:nvSpPr>
          <p:cNvPr id="306" name="Text Placeholder 2"/>
          <p:cNvSpPr txBox="1">
            <a:spLocks/>
          </p:cNvSpPr>
          <p:nvPr/>
        </p:nvSpPr>
        <p:spPr bwMode="auto">
          <a:xfrm>
            <a:off x="5759449" y="4763911"/>
            <a:ext cx="6402388" cy="980673"/>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64646">
                      <a:srgbClr val="FFFFFF"/>
                    </a:gs>
                    <a:gs pos="45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a:ln>
                <a:noFill/>
              </a:ln>
              <a:solidFill>
                <a:srgbClr val="00BCF2"/>
              </a:solidFill>
              <a:effectLst/>
              <a:uLnTx/>
              <a:uFillTx/>
              <a:latin typeface="Segoe UI Light"/>
              <a:ea typeface="+mn-ea"/>
              <a:cs typeface="+mn-cs"/>
            </a:endParaRPr>
          </a:p>
        </p:txBody>
      </p:sp>
    </p:spTree>
    <p:extLst>
      <p:ext uri="{BB962C8B-B14F-4D97-AF65-F5344CB8AC3E}">
        <p14:creationId xmlns:p14="http://schemas.microsoft.com/office/powerpoint/2010/main" val="219690325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71450"/>
            <a:ext cx="11888788" cy="917575"/>
          </a:xfrm>
        </p:spPr>
        <p:txBody>
          <a:bodyPr/>
          <a:lstStyle/>
          <a:p>
            <a:r>
              <a:rPr lang="en-US" sz="6600" dirty="0"/>
              <a:t>Hadoop and HDInsight</a:t>
            </a:r>
          </a:p>
        </p:txBody>
      </p:sp>
      <p:sp>
        <p:nvSpPr>
          <p:cNvPr id="3" name="Rectangle 2"/>
          <p:cNvSpPr/>
          <p:nvPr/>
        </p:nvSpPr>
        <p:spPr>
          <a:xfrm>
            <a:off x="904289" y="4639919"/>
            <a:ext cx="10476941" cy="1754326"/>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5400" b="0" i="0" u="none" strike="noStrike" kern="0" cap="none" spc="0" normalizeH="0" baseline="0" noProof="0" dirty="0">
                <a:ln>
                  <a:noFill/>
                </a:ln>
                <a:solidFill>
                  <a:srgbClr val="002864"/>
                </a:solidFill>
                <a:effectLst/>
                <a:uLnTx/>
                <a:uFillTx/>
                <a:ea typeface="Calibri" panose="020F0502020204030204" pitchFamily="34" charset="0"/>
                <a:cs typeface="Times New Roman" panose="02020603050405020304" pitchFamily="18" charset="0"/>
              </a:rPr>
              <a:t>Using the Hadoop Ecosystem to process and query data</a:t>
            </a:r>
            <a:endParaRPr kumimoji="0" lang="en-US" sz="5400" b="0" i="1" u="none" strike="noStrike" kern="0" cap="none" spc="0" normalizeH="0" baseline="0" noProof="0" dirty="0">
              <a:ln>
                <a:noFill/>
              </a:ln>
              <a:solidFill>
                <a:srgbClr val="00B050"/>
              </a:solidFill>
              <a:effectLst/>
              <a:uLnTx/>
              <a:uFillTx/>
            </a:endParaRPr>
          </a:p>
        </p:txBody>
      </p:sp>
      <p:pic>
        <p:nvPicPr>
          <p:cNvPr id="4" name="Picture 3"/>
          <p:cNvPicPr>
            <a:picLocks noChangeAspect="1"/>
          </p:cNvPicPr>
          <p:nvPr/>
        </p:nvPicPr>
        <p:blipFill>
          <a:blip r:embed="rId3"/>
          <a:stretch>
            <a:fillRect/>
          </a:stretch>
        </p:blipFill>
        <p:spPr>
          <a:xfrm>
            <a:off x="1194433" y="1636289"/>
            <a:ext cx="4115157" cy="2456901"/>
          </a:xfrm>
          <a:prstGeom prst="rect">
            <a:avLst/>
          </a:prstGeom>
        </p:spPr>
      </p:pic>
      <p:pic>
        <p:nvPicPr>
          <p:cNvPr id="5" name="Picture 4"/>
          <p:cNvPicPr>
            <a:picLocks noChangeAspect="1"/>
          </p:cNvPicPr>
          <p:nvPr/>
        </p:nvPicPr>
        <p:blipFill>
          <a:blip r:embed="rId4"/>
          <a:stretch>
            <a:fillRect/>
          </a:stretch>
        </p:blipFill>
        <p:spPr>
          <a:xfrm>
            <a:off x="6141169" y="2076971"/>
            <a:ext cx="5240061" cy="1575535"/>
          </a:xfrm>
          <a:prstGeom prst="rect">
            <a:avLst/>
          </a:prstGeom>
        </p:spPr>
      </p:pic>
    </p:spTree>
    <p:extLst>
      <p:ext uri="{BB962C8B-B14F-4D97-AF65-F5344CB8AC3E}">
        <p14:creationId xmlns:p14="http://schemas.microsoft.com/office/powerpoint/2010/main" val="2588515985"/>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6000" dirty="0"/>
              <a:t>Hadoop</a:t>
            </a:r>
          </a:p>
        </p:txBody>
      </p:sp>
      <p:sp>
        <p:nvSpPr>
          <p:cNvPr id="3" name="Text Placeholder 2"/>
          <p:cNvSpPr>
            <a:spLocks noGrp="1"/>
          </p:cNvSpPr>
          <p:nvPr>
            <p:ph type="body" sz="quarter" idx="10"/>
          </p:nvPr>
        </p:nvSpPr>
        <p:spPr>
          <a:xfrm>
            <a:off x="274639" y="1458177"/>
            <a:ext cx="11887200" cy="4555093"/>
          </a:xfrm>
        </p:spPr>
        <p:txBody>
          <a:bodyPr/>
          <a:lstStyle/>
          <a:p>
            <a:pPr marL="571500" indent="-571500">
              <a:buFont typeface="Arial" panose="020B0604020202020204" pitchFamily="34" charset="0"/>
              <a:buChar char="•"/>
            </a:pPr>
            <a:r>
              <a:rPr lang="en-US" dirty="0">
                <a:solidFill>
                  <a:srgbClr val="002864"/>
                </a:solidFill>
              </a:rPr>
              <a:t>An ecosystem of components for distributed data processing and analysis</a:t>
            </a:r>
          </a:p>
          <a:p>
            <a:pPr marL="571500" indent="-571500">
              <a:buFont typeface="Arial" panose="020B0604020202020204" pitchFamily="34" charset="0"/>
              <a:buChar char="•"/>
            </a:pPr>
            <a:r>
              <a:rPr lang="en-US" dirty="0">
                <a:solidFill>
                  <a:srgbClr val="002864"/>
                </a:solidFill>
              </a:rPr>
              <a:t>Core components: MapReduce, HDFS, YARN</a:t>
            </a:r>
          </a:p>
          <a:p>
            <a:pPr marL="571500" indent="-571500">
              <a:buFont typeface="Arial" panose="020B0604020202020204" pitchFamily="34" charset="0"/>
              <a:buChar char="•"/>
            </a:pPr>
            <a:r>
              <a:rPr lang="en-US" dirty="0">
                <a:solidFill>
                  <a:srgbClr val="002864"/>
                </a:solidFill>
              </a:rPr>
              <a:t>Data is processed in the Hadoop Distributed File System (HDFS)</a:t>
            </a:r>
          </a:p>
          <a:p>
            <a:pPr marL="571500" indent="-571500">
              <a:buFont typeface="Arial" panose="020B0604020202020204" pitchFamily="34" charset="0"/>
              <a:buChar char="•"/>
            </a:pPr>
            <a:r>
              <a:rPr lang="en-US" dirty="0">
                <a:solidFill>
                  <a:srgbClr val="002864"/>
                </a:solidFill>
              </a:rPr>
              <a:t>Resource Management is performed by YARN</a:t>
            </a:r>
          </a:p>
          <a:p>
            <a:pPr marL="571500" indent="-571500">
              <a:buFont typeface="Arial" panose="020B0604020202020204" pitchFamily="34" charset="0"/>
              <a:buChar char="•"/>
            </a:pPr>
            <a:r>
              <a:rPr lang="en-US" dirty="0">
                <a:solidFill>
                  <a:srgbClr val="002864"/>
                </a:solidFill>
              </a:rPr>
              <a:t>Many other related projects</a:t>
            </a:r>
          </a:p>
        </p:txBody>
      </p:sp>
      <p:pic>
        <p:nvPicPr>
          <p:cNvPr id="4" name="Content Placeholder 4" descr="hadoop+elephant_rgb.png"/>
          <p:cNvPicPr>
            <a:picLocks noGrp="1"/>
          </p:cNvPicPr>
          <p:nvPr/>
        </p:nvPicPr>
        <p:blipFill>
          <a:blip r:embed="rId3" cstate="print">
            <a:extLst>
              <a:ext uri="{28A0092B-C50C-407E-A947-70E740481C1C}">
                <a14:useLocalDpi xmlns:a14="http://schemas.microsoft.com/office/drawing/2010/main" val="0"/>
              </a:ext>
            </a:extLst>
          </a:blip>
          <a:srcRect t="-76337" b="-76337"/>
          <a:stretch>
            <a:fillRect/>
          </a:stretch>
        </p:blipFill>
        <p:spPr>
          <a:xfrm>
            <a:off x="8943277" y="-219671"/>
            <a:ext cx="3340644" cy="1947464"/>
          </a:xfrm>
          <a:prstGeom prst="rect">
            <a:avLst/>
          </a:prstGeom>
        </p:spPr>
      </p:pic>
    </p:spTree>
    <p:extLst>
      <p:ext uri="{BB962C8B-B14F-4D97-AF65-F5344CB8AC3E}">
        <p14:creationId xmlns:p14="http://schemas.microsoft.com/office/powerpoint/2010/main" val="337549904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p:cNvSpPr/>
          <p:nvPr/>
        </p:nvSpPr>
        <p:spPr bwMode="auto">
          <a:xfrm>
            <a:off x="1808673" y="5362887"/>
            <a:ext cx="5284267" cy="501062"/>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1242752" eaLnBrk="1" fontAlgn="auto" latinLnBrk="0" hangingPunct="1">
              <a:lnSpc>
                <a:spcPct val="100000"/>
              </a:lnSpc>
              <a:spcBef>
                <a:spcPts val="0"/>
              </a:spcBef>
              <a:spcAft>
                <a:spcPts val="0"/>
              </a:spcAft>
              <a:buClrTx/>
              <a:buSzTx/>
              <a:buFontTx/>
              <a:buNone/>
              <a:tabLst/>
              <a:defRPr/>
            </a:pPr>
            <a:r>
              <a:rPr kumimoji="0" lang="en-US" sz="2174" b="0" i="0" u="none" strike="noStrike" kern="0" cap="none" spc="0" normalizeH="0" baseline="0" noProof="0" dirty="0">
                <a:ln>
                  <a:noFill/>
                </a:ln>
                <a:solidFill>
                  <a:prstClr val="white"/>
                </a:solidFill>
                <a:effectLst/>
                <a:uLnTx/>
                <a:uFillTx/>
                <a:cs typeface="Segoe UI" pitchFamily="34" charset="0"/>
              </a:rPr>
              <a:t>Distributed Storage (HDFS)</a:t>
            </a:r>
            <a:endParaRPr kumimoji="0" lang="en-US" sz="2174" b="0" i="0" u="none" strike="noStrike" kern="0" cap="none" spc="0" normalizeH="0" baseline="0" noProof="0" dirty="0">
              <a:ln>
                <a:noFill/>
              </a:ln>
              <a:solidFill>
                <a:prstClr val="white"/>
              </a:solidFill>
              <a:effectLst/>
              <a:uLnTx/>
              <a:uFillTx/>
            </a:endParaRPr>
          </a:p>
        </p:txBody>
      </p:sp>
      <p:sp>
        <p:nvSpPr>
          <p:cNvPr id="31" name="Rectangle 30"/>
          <p:cNvSpPr/>
          <p:nvPr/>
        </p:nvSpPr>
        <p:spPr bwMode="auto">
          <a:xfrm>
            <a:off x="4368149" y="3074674"/>
            <a:ext cx="1506789" cy="76190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solidFill>
                  <a:schemeClr val="bg1"/>
                </a:solidFill>
                <a:effectLst/>
                <a:uLnTx/>
                <a:uFillTx/>
                <a:ea typeface="Segoe UI" pitchFamily="34" charset="0"/>
                <a:cs typeface="Segoe UI" pitchFamily="34" charset="0"/>
              </a:rPr>
              <a:t>Query</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solidFill>
                  <a:schemeClr val="bg1"/>
                </a:solidFill>
                <a:effectLst/>
                <a:uLnTx/>
                <a:uFillTx/>
                <a:ea typeface="Segoe UI" pitchFamily="34" charset="0"/>
                <a:cs typeface="Segoe UI" pitchFamily="34" charset="0"/>
              </a:rPr>
              <a:t>(Hive)</a:t>
            </a:r>
          </a:p>
        </p:txBody>
      </p:sp>
      <p:sp>
        <p:nvSpPr>
          <p:cNvPr id="34" name="Rectangle 33"/>
          <p:cNvSpPr/>
          <p:nvPr/>
        </p:nvSpPr>
        <p:spPr bwMode="auto">
          <a:xfrm>
            <a:off x="2777111" y="3897677"/>
            <a:ext cx="3095752" cy="916731"/>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1242752" eaLnBrk="1" fontAlgn="auto" latinLnBrk="0" hangingPunct="1">
              <a:lnSpc>
                <a:spcPct val="100000"/>
              </a:lnSpc>
              <a:spcBef>
                <a:spcPts val="0"/>
              </a:spcBef>
              <a:spcAft>
                <a:spcPts val="0"/>
              </a:spcAft>
              <a:buClrTx/>
              <a:buSzTx/>
              <a:buFontTx/>
              <a:buNone/>
              <a:tabLst/>
              <a:defRPr/>
            </a:pPr>
            <a:r>
              <a:rPr kumimoji="0" lang="en-US" sz="2174" b="0" i="0" u="none" strike="noStrike" kern="0" cap="none" spc="0" normalizeH="0" baseline="0" noProof="0" dirty="0">
                <a:ln>
                  <a:noFill/>
                </a:ln>
                <a:solidFill>
                  <a:prstClr val="white"/>
                </a:solidFill>
                <a:effectLst/>
                <a:uLnTx/>
                <a:uFillTx/>
                <a:cs typeface="Segoe UI" pitchFamily="34" charset="0"/>
              </a:rPr>
              <a:t>Distributed Processing</a:t>
            </a:r>
          </a:p>
          <a:p>
            <a:pPr marL="0" marR="0" lvl="0" indent="0" algn="ctr" defTabSz="1242752" eaLnBrk="1" fontAlgn="auto" latinLnBrk="0" hangingPunct="1">
              <a:lnSpc>
                <a:spcPct val="100000"/>
              </a:lnSpc>
              <a:spcBef>
                <a:spcPts val="0"/>
              </a:spcBef>
              <a:spcAft>
                <a:spcPts val="0"/>
              </a:spcAft>
              <a:buClrTx/>
              <a:buSzTx/>
              <a:buFontTx/>
              <a:buNone/>
              <a:tabLst/>
              <a:defRPr/>
            </a:pPr>
            <a:r>
              <a:rPr kumimoji="0" lang="en-US" sz="2174" b="0" i="0" u="none" strike="noStrike" kern="0" cap="none" spc="0" normalizeH="0" baseline="0" noProof="0" dirty="0">
                <a:ln>
                  <a:noFill/>
                </a:ln>
                <a:solidFill>
                  <a:prstClr val="white"/>
                </a:solidFill>
                <a:effectLst/>
                <a:uLnTx/>
                <a:uFillTx/>
                <a:cs typeface="Segoe UI" pitchFamily="34" charset="0"/>
              </a:rPr>
              <a:t>(MapReduce)</a:t>
            </a:r>
            <a:endParaRPr kumimoji="0" lang="en-US" sz="2174" b="0" i="0" u="none" strike="noStrike" kern="0" cap="none" spc="0" normalizeH="0" baseline="0" noProof="0" dirty="0">
              <a:ln>
                <a:noFill/>
              </a:ln>
              <a:solidFill>
                <a:prstClr val="white"/>
              </a:solidFill>
              <a:effectLst/>
              <a:uLnTx/>
              <a:uFillTx/>
            </a:endParaRPr>
          </a:p>
        </p:txBody>
      </p:sp>
      <p:sp>
        <p:nvSpPr>
          <p:cNvPr id="35" name="Rectangle 34"/>
          <p:cNvSpPr/>
          <p:nvPr/>
        </p:nvSpPr>
        <p:spPr bwMode="auto">
          <a:xfrm>
            <a:off x="2777114" y="3076243"/>
            <a:ext cx="1532992" cy="763008"/>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039"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Scripting</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039"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Pig)</a:t>
            </a:r>
          </a:p>
        </p:txBody>
      </p:sp>
      <p:sp>
        <p:nvSpPr>
          <p:cNvPr id="36" name="Rectangle 35"/>
          <p:cNvSpPr/>
          <p:nvPr/>
        </p:nvSpPr>
        <p:spPr bwMode="auto">
          <a:xfrm>
            <a:off x="1808673" y="3085400"/>
            <a:ext cx="903154" cy="1729006"/>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NoSQL Database</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HBase)</a:t>
            </a:r>
          </a:p>
        </p:txBody>
      </p:sp>
      <p:sp>
        <p:nvSpPr>
          <p:cNvPr id="37" name="Rectangle 36"/>
          <p:cNvSpPr/>
          <p:nvPr/>
        </p:nvSpPr>
        <p:spPr bwMode="auto">
          <a:xfrm>
            <a:off x="1808674" y="2390169"/>
            <a:ext cx="4064191" cy="630825"/>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632"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Metadata</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632"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HCatalog)</a:t>
            </a:r>
          </a:p>
        </p:txBody>
      </p:sp>
      <p:sp>
        <p:nvSpPr>
          <p:cNvPr id="40" name="Rectangle 39"/>
          <p:cNvSpPr/>
          <p:nvPr/>
        </p:nvSpPr>
        <p:spPr bwMode="auto">
          <a:xfrm>
            <a:off x="7134185" y="1552048"/>
            <a:ext cx="786936" cy="5185122"/>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632" b="0" i="0" u="none" strike="noStrike" kern="0" cap="none" spc="-40" normalizeH="0" baseline="0" noProof="0" dirty="0">
                <a:ln>
                  <a:noFill/>
                </a:ln>
                <a:solidFill>
                  <a:srgbClr val="000000"/>
                </a:solidFill>
                <a:effectLst/>
                <a:uLnTx/>
                <a:uFillTx/>
                <a:ea typeface="Segoe UI" pitchFamily="34" charset="0"/>
                <a:cs typeface="Segoe UI" pitchFamily="34" charset="0"/>
              </a:rPr>
              <a:t>Data Integration</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632" b="0" i="0" u="none" strike="noStrike" kern="0" cap="none" spc="-40" normalizeH="0" baseline="0" noProof="0" dirty="0">
                <a:ln>
                  <a:noFill/>
                </a:ln>
                <a:solidFill>
                  <a:srgbClr val="000000"/>
                </a:solidFill>
                <a:effectLst/>
                <a:uLnTx/>
                <a:uFillTx/>
                <a:ea typeface="Segoe UI" pitchFamily="34" charset="0"/>
                <a:cs typeface="Segoe UI" pitchFamily="34" charset="0"/>
              </a:rPr>
              <a:t>(ODBC / SQOOP/ REST) </a:t>
            </a:r>
          </a:p>
        </p:txBody>
      </p:sp>
      <p:sp>
        <p:nvSpPr>
          <p:cNvPr id="41" name="Rectangle 40"/>
          <p:cNvSpPr/>
          <p:nvPr/>
        </p:nvSpPr>
        <p:spPr bwMode="auto">
          <a:xfrm>
            <a:off x="7977940" y="1552050"/>
            <a:ext cx="1650328" cy="1392828"/>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elational</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SQL Server) </a:t>
            </a:r>
          </a:p>
        </p:txBody>
      </p:sp>
      <p:sp>
        <p:nvSpPr>
          <p:cNvPr id="12" name="Rectangle 11"/>
          <p:cNvSpPr/>
          <p:nvPr/>
        </p:nvSpPr>
        <p:spPr bwMode="auto">
          <a:xfrm>
            <a:off x="6076842" y="1552050"/>
            <a:ext cx="997224" cy="782868"/>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Machine Learning</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Mahout)</a:t>
            </a:r>
          </a:p>
        </p:txBody>
      </p:sp>
      <p:sp>
        <p:nvSpPr>
          <p:cNvPr id="13" name="Rectangle 12"/>
          <p:cNvSpPr/>
          <p:nvPr/>
        </p:nvSpPr>
        <p:spPr bwMode="auto">
          <a:xfrm>
            <a:off x="3937802" y="1553618"/>
            <a:ext cx="997224" cy="782868"/>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Graph</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Pegasus)</a:t>
            </a:r>
          </a:p>
        </p:txBody>
      </p:sp>
      <p:sp>
        <p:nvSpPr>
          <p:cNvPr id="14" name="Rectangle 13"/>
          <p:cNvSpPr/>
          <p:nvPr/>
        </p:nvSpPr>
        <p:spPr bwMode="auto">
          <a:xfrm>
            <a:off x="5007689" y="1552050"/>
            <a:ext cx="997224" cy="782868"/>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00"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Stats processing</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00"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a:t>
            </a:r>
            <a:r>
              <a:rPr kumimoji="0" lang="en-US" sz="1400" b="0" i="0" u="none" strike="noStrike" kern="0" cap="none" spc="-4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rPr>
              <a:t>SparkR</a:t>
            </a:r>
            <a:r>
              <a:rPr kumimoji="0" lang="en-US" sz="1400"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a:t>
            </a:r>
          </a:p>
        </p:txBody>
      </p:sp>
      <p:sp>
        <p:nvSpPr>
          <p:cNvPr id="18" name="Rectangle 17"/>
          <p:cNvSpPr/>
          <p:nvPr/>
        </p:nvSpPr>
        <p:spPr bwMode="auto">
          <a:xfrm>
            <a:off x="956450" y="4445302"/>
            <a:ext cx="786936" cy="1418647"/>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solidFill>
                  <a:srgbClr val="000000"/>
                </a:solidFill>
                <a:effectLst/>
                <a:uLnTx/>
                <a:uFillTx/>
                <a:ea typeface="Segoe UI" pitchFamily="34" charset="0"/>
                <a:cs typeface="Segoe UI" pitchFamily="34" charset="0"/>
              </a:rPr>
              <a:t>Event Pipeline</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solidFill>
                  <a:srgbClr val="000000"/>
                </a:solidFill>
                <a:effectLst/>
                <a:uLnTx/>
                <a:uFillTx/>
                <a:ea typeface="Segoe UI" pitchFamily="34" charset="0"/>
                <a:cs typeface="Segoe UI" pitchFamily="34" charset="0"/>
              </a:rPr>
              <a:t>(Event Hub/ Flume)</a:t>
            </a:r>
          </a:p>
        </p:txBody>
      </p:sp>
      <p:sp>
        <p:nvSpPr>
          <p:cNvPr id="20" name="Rectangle 19"/>
          <p:cNvSpPr/>
          <p:nvPr/>
        </p:nvSpPr>
        <p:spPr bwMode="auto">
          <a:xfrm rot="16200000">
            <a:off x="5938972" y="5598220"/>
            <a:ext cx="801507" cy="1476395"/>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Active Directory  (Security)</a:t>
            </a:r>
          </a:p>
        </p:txBody>
      </p:sp>
      <p:sp>
        <p:nvSpPr>
          <p:cNvPr id="21" name="Rectangle 20"/>
          <p:cNvSpPr/>
          <p:nvPr/>
        </p:nvSpPr>
        <p:spPr bwMode="auto">
          <a:xfrm rot="16200000">
            <a:off x="1300991" y="5600148"/>
            <a:ext cx="801507" cy="1472537"/>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Monitoring &amp; Deployment (System Center)</a:t>
            </a:r>
          </a:p>
        </p:txBody>
      </p:sp>
      <p:sp>
        <p:nvSpPr>
          <p:cNvPr id="19" name="Rectangle 18"/>
          <p:cNvSpPr/>
          <p:nvPr/>
        </p:nvSpPr>
        <p:spPr bwMode="auto">
          <a:xfrm>
            <a:off x="2880344" y="1542889"/>
            <a:ext cx="997224" cy="782868"/>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C#, F#, .NET</a:t>
            </a:r>
          </a:p>
        </p:txBody>
      </p:sp>
      <p:sp>
        <p:nvSpPr>
          <p:cNvPr id="22" name="Rectangle 21"/>
          <p:cNvSpPr/>
          <p:nvPr/>
        </p:nvSpPr>
        <p:spPr bwMode="auto">
          <a:xfrm>
            <a:off x="1810457" y="1542889"/>
            <a:ext cx="997224" cy="782868"/>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JavaScript</a:t>
            </a:r>
          </a:p>
        </p:txBody>
      </p:sp>
      <p:sp>
        <p:nvSpPr>
          <p:cNvPr id="25" name="Rectangle 24"/>
          <p:cNvSpPr/>
          <p:nvPr/>
        </p:nvSpPr>
        <p:spPr bwMode="auto">
          <a:xfrm>
            <a:off x="965474" y="1552051"/>
            <a:ext cx="786936" cy="146894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Pipeline / workflow</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Oozie)</a:t>
            </a:r>
          </a:p>
        </p:txBody>
      </p:sp>
      <p:sp>
        <p:nvSpPr>
          <p:cNvPr id="23" name="Rectangle 22"/>
          <p:cNvSpPr/>
          <p:nvPr/>
        </p:nvSpPr>
        <p:spPr bwMode="auto">
          <a:xfrm rot="16200000">
            <a:off x="4381487" y="5600148"/>
            <a:ext cx="801507" cy="1472537"/>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Azure Storage Vault (ASV)</a:t>
            </a:r>
          </a:p>
        </p:txBody>
      </p:sp>
      <p:sp>
        <p:nvSpPr>
          <p:cNvPr id="24" name="Rectangle 23"/>
          <p:cNvSpPr/>
          <p:nvPr/>
        </p:nvSpPr>
        <p:spPr bwMode="auto">
          <a:xfrm>
            <a:off x="5932983" y="2390167"/>
            <a:ext cx="1144941" cy="2424239"/>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039"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PDW Polybase</a:t>
            </a:r>
          </a:p>
        </p:txBody>
      </p:sp>
      <p:sp>
        <p:nvSpPr>
          <p:cNvPr id="26" name="Rectangle 25"/>
          <p:cNvSpPr/>
          <p:nvPr/>
        </p:nvSpPr>
        <p:spPr bwMode="auto">
          <a:xfrm>
            <a:off x="7977384" y="4490626"/>
            <a:ext cx="1658852" cy="2246544"/>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Business Intelligence </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Excel, Power View, SSAS)</a:t>
            </a:r>
          </a:p>
        </p:txBody>
      </p:sp>
      <p:sp>
        <p:nvSpPr>
          <p:cNvPr id="28" name="Rectangle 27"/>
          <p:cNvSpPr/>
          <p:nvPr/>
        </p:nvSpPr>
        <p:spPr bwMode="auto">
          <a:xfrm rot="16200000">
            <a:off x="2852689" y="5600148"/>
            <a:ext cx="801507" cy="1472537"/>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World's Data (Azure Data Marketplace)</a:t>
            </a:r>
          </a:p>
        </p:txBody>
      </p:sp>
      <p:sp>
        <p:nvSpPr>
          <p:cNvPr id="29" name="Rectangle 28"/>
          <p:cNvSpPr/>
          <p:nvPr/>
        </p:nvSpPr>
        <p:spPr bwMode="auto">
          <a:xfrm>
            <a:off x="7981240" y="2990203"/>
            <a:ext cx="1650328" cy="1455100"/>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Event Driven Processing</a:t>
            </a:r>
          </a:p>
        </p:txBody>
      </p:sp>
      <p:sp>
        <p:nvSpPr>
          <p:cNvPr id="2" name="TextBox 1"/>
          <p:cNvSpPr txBox="1"/>
          <p:nvPr/>
        </p:nvSpPr>
        <p:spPr>
          <a:xfrm>
            <a:off x="10120280" y="895104"/>
            <a:ext cx="2171933" cy="5695627"/>
          </a:xfrm>
          <a:prstGeom prst="rect">
            <a:avLst/>
          </a:prstGeom>
          <a:noFill/>
        </p:spPr>
        <p:txBody>
          <a:bodyPr wrap="square" lIns="93187" tIns="46592" rIns="93187" bIns="46592" rtlCol="0">
            <a:spAutoFit/>
          </a:bodyPr>
          <a:lstStyle/>
          <a:p>
            <a:pPr marL="0" marR="0" lvl="0" indent="0" defTabSz="1242752"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C00000"/>
                </a:solidFill>
                <a:effectLst/>
                <a:uLnTx/>
                <a:uFillTx/>
              </a:rPr>
              <a:t>Core Hadoop</a:t>
            </a:r>
          </a:p>
          <a:p>
            <a:pPr marL="0" marR="0" lvl="0" indent="0" defTabSz="1242752"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bg2"/>
              </a:solidFill>
              <a:effectLst/>
              <a:uLnTx/>
              <a:uFillTx/>
            </a:endParaRPr>
          </a:p>
          <a:p>
            <a:pPr marL="0" marR="0" lvl="0" indent="0" defTabSz="1242752"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chemeClr val="bg2"/>
                </a:solidFill>
                <a:effectLst/>
                <a:uLnTx/>
                <a:uFillTx/>
              </a:rPr>
              <a:t>Data processing</a:t>
            </a:r>
          </a:p>
          <a:p>
            <a:pPr marL="0" marR="0" lvl="0" indent="0" defTabSz="1242752"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bg2">
                  <a:lumMod val="50000"/>
                </a:schemeClr>
              </a:solidFill>
              <a:effectLst/>
              <a:uLnTx/>
              <a:uFillTx/>
            </a:endParaRPr>
          </a:p>
          <a:p>
            <a:pPr marL="0" marR="0" lvl="0" indent="0" defTabSz="1242752"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chemeClr val="bg2">
                    <a:lumMod val="50000"/>
                  </a:schemeClr>
                </a:solidFill>
                <a:effectLst/>
                <a:uLnTx/>
                <a:uFillTx/>
              </a:rPr>
              <a:t>Microsoft integration </a:t>
            </a:r>
          </a:p>
          <a:p>
            <a:pPr marL="0" marR="0" lvl="0" indent="0" defTabSz="1242752"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bg2">
                  <a:lumMod val="50000"/>
                </a:schemeClr>
              </a:solidFill>
              <a:effectLst/>
              <a:uLnTx/>
              <a:uFillTx/>
            </a:endParaRPr>
          </a:p>
          <a:p>
            <a:pPr marL="0" marR="0" lvl="0" indent="0" defTabSz="1242752"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CC00"/>
                </a:solidFill>
                <a:effectLst/>
                <a:uLnTx/>
                <a:uFillTx/>
              </a:rPr>
              <a:t>Data Movement</a:t>
            </a:r>
          </a:p>
          <a:p>
            <a:pPr marL="0" marR="0" lvl="0" indent="0" defTabSz="1242752"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8CC600">
                  <a:lumMod val="75000"/>
                </a:srgbClr>
              </a:solidFill>
              <a:effectLst/>
              <a:uLnTx/>
              <a:uFillTx/>
            </a:endParaRPr>
          </a:p>
          <a:p>
            <a:pPr marL="0" marR="0" lvl="0" indent="0" defTabSz="1242752"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8CC600">
                    <a:lumMod val="75000"/>
                  </a:srgbClr>
                </a:solidFill>
                <a:effectLst/>
                <a:uLnTx/>
                <a:uFillTx/>
              </a:rPr>
              <a:t>Packages</a:t>
            </a:r>
          </a:p>
        </p:txBody>
      </p:sp>
      <p:sp>
        <p:nvSpPr>
          <p:cNvPr id="4" name="Text Placeholder 3"/>
          <p:cNvSpPr>
            <a:spLocks noGrp="1"/>
          </p:cNvSpPr>
          <p:nvPr>
            <p:ph type="body" sz="quarter" idx="13"/>
          </p:nvPr>
        </p:nvSpPr>
        <p:spPr>
          <a:xfrm>
            <a:off x="54033" y="113885"/>
            <a:ext cx="10972800" cy="1024684"/>
          </a:xfrm>
        </p:spPr>
        <p:txBody>
          <a:bodyPr/>
          <a:lstStyle/>
          <a:p>
            <a:r>
              <a:rPr lang="en-US" sz="4800" dirty="0"/>
              <a:t>HDInsight and the Hadoop ecosystem</a:t>
            </a:r>
          </a:p>
        </p:txBody>
      </p:sp>
      <p:sp>
        <p:nvSpPr>
          <p:cNvPr id="27" name="Rectangle 26"/>
          <p:cNvSpPr/>
          <p:nvPr/>
        </p:nvSpPr>
        <p:spPr bwMode="auto">
          <a:xfrm>
            <a:off x="1810457" y="4838114"/>
            <a:ext cx="5263609" cy="501062"/>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1242752" eaLnBrk="1" fontAlgn="auto" latinLnBrk="0" hangingPunct="1">
              <a:lnSpc>
                <a:spcPct val="100000"/>
              </a:lnSpc>
              <a:spcBef>
                <a:spcPts val="0"/>
              </a:spcBef>
              <a:spcAft>
                <a:spcPts val="0"/>
              </a:spcAft>
              <a:buClrTx/>
              <a:buSzTx/>
              <a:buFontTx/>
              <a:buNone/>
              <a:tabLst/>
              <a:defRPr/>
            </a:pPr>
            <a:r>
              <a:rPr kumimoji="0" lang="en-US" sz="2174" b="0" i="0" u="none" strike="noStrike" kern="0" cap="none" spc="0" normalizeH="0" baseline="0" noProof="0" dirty="0">
                <a:ln>
                  <a:noFill/>
                </a:ln>
                <a:solidFill>
                  <a:prstClr val="white"/>
                </a:solidFill>
                <a:effectLst/>
                <a:uLnTx/>
                <a:uFillTx/>
                <a:cs typeface="Segoe UI" pitchFamily="34" charset="0"/>
              </a:rPr>
              <a:t>YARN</a:t>
            </a:r>
            <a:endParaRPr kumimoji="0" lang="en-US" sz="2174" b="0" i="0" u="none" strike="noStrike" kern="0" cap="none" spc="0" normalizeH="0" baseline="0" noProof="0" dirty="0">
              <a:ln>
                <a:noFill/>
              </a:ln>
              <a:solidFill>
                <a:prstClr val="white"/>
              </a:solidFill>
              <a:effectLst/>
              <a:uLnTx/>
              <a:uFillTx/>
            </a:endParaRPr>
          </a:p>
        </p:txBody>
      </p:sp>
      <p:sp>
        <p:nvSpPr>
          <p:cNvPr id="30" name="Rectangle 29"/>
          <p:cNvSpPr/>
          <p:nvPr/>
        </p:nvSpPr>
        <p:spPr bwMode="auto">
          <a:xfrm>
            <a:off x="976566" y="3092708"/>
            <a:ext cx="786936" cy="1300421"/>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eal Time Processing (Storm)</a:t>
            </a:r>
          </a:p>
        </p:txBody>
      </p:sp>
    </p:spTree>
    <p:extLst>
      <p:ext uri="{BB962C8B-B14F-4D97-AF65-F5344CB8AC3E}">
        <p14:creationId xmlns:p14="http://schemas.microsoft.com/office/powerpoint/2010/main" val="2034912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fade">
                                      <p:cBhvr>
                                        <p:cTn id="13" dur="500"/>
                                        <p:tgtEl>
                                          <p:spTgt spid="32"/>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25"/>
                                        </p:tgtEl>
                                        <p:attrNameLst>
                                          <p:attrName>style.visibility</p:attrName>
                                        </p:attrNameLst>
                                      </p:cBhvr>
                                      <p:to>
                                        <p:strVal val="visible"/>
                                      </p:to>
                                    </p:set>
                                    <p:animEffect transition="in" filter="fade">
                                      <p:cBhvr>
                                        <p:cTn id="18" dur="500"/>
                                        <p:tgtEl>
                                          <p:spTgt spid="25"/>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7"/>
                                        </p:tgtEl>
                                        <p:attrNameLst>
                                          <p:attrName>style.visibility</p:attrName>
                                        </p:attrNameLst>
                                      </p:cBhvr>
                                      <p:to>
                                        <p:strVal val="visible"/>
                                      </p:to>
                                    </p:set>
                                    <p:animEffect transition="in" filter="fade">
                                      <p:cBhvr>
                                        <p:cTn id="24" dur="500"/>
                                        <p:tgtEl>
                                          <p:spTgt spid="37"/>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5"/>
                                        </p:tgtEl>
                                        <p:attrNameLst>
                                          <p:attrName>style.visibility</p:attrName>
                                        </p:attrNameLst>
                                      </p:cBhvr>
                                      <p:to>
                                        <p:strVal val="visible"/>
                                      </p:to>
                                    </p:set>
                                    <p:animEffect transition="in" filter="fade">
                                      <p:cBhvr>
                                        <p:cTn id="27" dur="500"/>
                                        <p:tgtEl>
                                          <p:spTgt spid="35"/>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1"/>
                                        </p:tgtEl>
                                        <p:attrNameLst>
                                          <p:attrName>style.visibility</p:attrName>
                                        </p:attrNameLst>
                                      </p:cBhvr>
                                      <p:to>
                                        <p:strVal val="visible"/>
                                      </p:to>
                                    </p:set>
                                    <p:animEffect transition="in" filter="fade">
                                      <p:cBhvr>
                                        <p:cTn id="30" dur="500"/>
                                        <p:tgtEl>
                                          <p:spTgt spid="31"/>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36"/>
                                        </p:tgtEl>
                                        <p:attrNameLst>
                                          <p:attrName>style.visibility</p:attrName>
                                        </p:attrNameLst>
                                      </p:cBhvr>
                                      <p:to>
                                        <p:strVal val="visible"/>
                                      </p:to>
                                    </p:set>
                                    <p:animEffect transition="in" filter="fade">
                                      <p:cBhvr>
                                        <p:cTn id="33" dur="500"/>
                                        <p:tgtEl>
                                          <p:spTgt spid="36"/>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22"/>
                                        </p:tgtEl>
                                        <p:attrNameLst>
                                          <p:attrName>style.visibility</p:attrName>
                                        </p:attrNameLst>
                                      </p:cBhvr>
                                      <p:to>
                                        <p:strVal val="visible"/>
                                      </p:to>
                                    </p:set>
                                    <p:animEffect transition="in" filter="fade">
                                      <p:cBhvr>
                                        <p:cTn id="38" dur="500"/>
                                        <p:tgtEl>
                                          <p:spTgt spid="22"/>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500"/>
                                        <p:tgtEl>
                                          <p:spTgt spid="19"/>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4"/>
                                        </p:tgtEl>
                                        <p:attrNameLst>
                                          <p:attrName>style.visibility</p:attrName>
                                        </p:attrNameLst>
                                      </p:cBhvr>
                                      <p:to>
                                        <p:strVal val="visible"/>
                                      </p:to>
                                    </p:set>
                                    <p:animEffect transition="in" filter="fade">
                                      <p:cBhvr>
                                        <p:cTn id="44" dur="500"/>
                                        <p:tgtEl>
                                          <p:spTgt spid="24"/>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41"/>
                                        </p:tgtEl>
                                        <p:attrNameLst>
                                          <p:attrName>style.visibility</p:attrName>
                                        </p:attrNameLst>
                                      </p:cBhvr>
                                      <p:to>
                                        <p:strVal val="visible"/>
                                      </p:to>
                                    </p:set>
                                    <p:animEffect transition="in" filter="fade">
                                      <p:cBhvr>
                                        <p:cTn id="47" dur="500"/>
                                        <p:tgtEl>
                                          <p:spTgt spid="41"/>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29"/>
                                        </p:tgtEl>
                                        <p:attrNameLst>
                                          <p:attrName>style.visibility</p:attrName>
                                        </p:attrNameLst>
                                      </p:cBhvr>
                                      <p:to>
                                        <p:strVal val="visible"/>
                                      </p:to>
                                    </p:set>
                                    <p:animEffect transition="in" filter="fade">
                                      <p:cBhvr>
                                        <p:cTn id="50" dur="500"/>
                                        <p:tgtEl>
                                          <p:spTgt spid="29"/>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26"/>
                                        </p:tgtEl>
                                        <p:attrNameLst>
                                          <p:attrName>style.visibility</p:attrName>
                                        </p:attrNameLst>
                                      </p:cBhvr>
                                      <p:to>
                                        <p:strVal val="visible"/>
                                      </p:to>
                                    </p:set>
                                    <p:animEffect transition="in" filter="fade">
                                      <p:cBhvr>
                                        <p:cTn id="53" dur="500"/>
                                        <p:tgtEl>
                                          <p:spTgt spid="26"/>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20"/>
                                        </p:tgtEl>
                                        <p:attrNameLst>
                                          <p:attrName>style.visibility</p:attrName>
                                        </p:attrNameLst>
                                      </p:cBhvr>
                                      <p:to>
                                        <p:strVal val="visible"/>
                                      </p:to>
                                    </p:set>
                                    <p:animEffect transition="in" filter="fade">
                                      <p:cBhvr>
                                        <p:cTn id="56" dur="500"/>
                                        <p:tgtEl>
                                          <p:spTgt spid="20"/>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23"/>
                                        </p:tgtEl>
                                        <p:attrNameLst>
                                          <p:attrName>style.visibility</p:attrName>
                                        </p:attrNameLst>
                                      </p:cBhvr>
                                      <p:to>
                                        <p:strVal val="visible"/>
                                      </p:to>
                                    </p:set>
                                    <p:animEffect transition="in" filter="fade">
                                      <p:cBhvr>
                                        <p:cTn id="59" dur="500"/>
                                        <p:tgtEl>
                                          <p:spTgt spid="23"/>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28"/>
                                        </p:tgtEl>
                                        <p:attrNameLst>
                                          <p:attrName>style.visibility</p:attrName>
                                        </p:attrNameLst>
                                      </p:cBhvr>
                                      <p:to>
                                        <p:strVal val="visible"/>
                                      </p:to>
                                    </p:set>
                                    <p:animEffect transition="in" filter="fade">
                                      <p:cBhvr>
                                        <p:cTn id="62" dur="500"/>
                                        <p:tgtEl>
                                          <p:spTgt spid="28"/>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21"/>
                                        </p:tgtEl>
                                        <p:attrNameLst>
                                          <p:attrName>style.visibility</p:attrName>
                                        </p:attrNameLst>
                                      </p:cBhvr>
                                      <p:to>
                                        <p:strVal val="visible"/>
                                      </p:to>
                                    </p:set>
                                    <p:animEffect transition="in" filter="fade">
                                      <p:cBhvr>
                                        <p:cTn id="65" dur="500"/>
                                        <p:tgtEl>
                                          <p:spTgt spid="21"/>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14"/>
                                        </p:tgtEl>
                                        <p:attrNameLst>
                                          <p:attrName>style.visibility</p:attrName>
                                        </p:attrNameLst>
                                      </p:cBhvr>
                                      <p:to>
                                        <p:strVal val="visible"/>
                                      </p:to>
                                    </p:set>
                                    <p:animEffect transition="in" filter="fade">
                                      <p:cBhvr>
                                        <p:cTn id="68" dur="500"/>
                                        <p:tgtEl>
                                          <p:spTgt spid="14"/>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40"/>
                                        </p:tgtEl>
                                        <p:attrNameLst>
                                          <p:attrName>style.visibility</p:attrName>
                                        </p:attrNameLst>
                                      </p:cBhvr>
                                      <p:to>
                                        <p:strVal val="visible"/>
                                      </p:to>
                                    </p:set>
                                    <p:animEffect transition="in" filter="fade">
                                      <p:cBhvr>
                                        <p:cTn id="73" dur="500"/>
                                        <p:tgtEl>
                                          <p:spTgt spid="40"/>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18"/>
                                        </p:tgtEl>
                                        <p:attrNameLst>
                                          <p:attrName>style.visibility</p:attrName>
                                        </p:attrNameLst>
                                      </p:cBhvr>
                                      <p:to>
                                        <p:strVal val="visible"/>
                                      </p:to>
                                    </p:set>
                                    <p:animEffect transition="in" filter="fade">
                                      <p:cBhvr>
                                        <p:cTn id="76" dur="500"/>
                                        <p:tgtEl>
                                          <p:spTgt spid="18"/>
                                        </p:tgtEl>
                                      </p:cBhvr>
                                    </p:animEffect>
                                  </p:childTnLst>
                                </p:cTn>
                              </p:par>
                            </p:childTnLst>
                          </p:cTn>
                        </p:par>
                      </p:childTnLst>
                    </p:cTn>
                  </p:par>
                  <p:par>
                    <p:cTn id="77" fill="hold">
                      <p:stCondLst>
                        <p:cond delay="indefinite"/>
                      </p:stCondLst>
                      <p:childTnLst>
                        <p:par>
                          <p:cTn id="78" fill="hold">
                            <p:stCondLst>
                              <p:cond delay="0"/>
                            </p:stCondLst>
                            <p:childTnLst>
                              <p:par>
                                <p:cTn id="79" presetID="10" presetClass="entr" presetSubtype="0" fill="hold" grpId="0" nodeType="clickEffect">
                                  <p:stCondLst>
                                    <p:cond delay="0"/>
                                  </p:stCondLst>
                                  <p:childTnLst>
                                    <p:set>
                                      <p:cBhvr>
                                        <p:cTn id="80" dur="1" fill="hold">
                                          <p:stCondLst>
                                            <p:cond delay="0"/>
                                          </p:stCondLst>
                                        </p:cTn>
                                        <p:tgtEl>
                                          <p:spTgt spid="13"/>
                                        </p:tgtEl>
                                        <p:attrNameLst>
                                          <p:attrName>style.visibility</p:attrName>
                                        </p:attrNameLst>
                                      </p:cBhvr>
                                      <p:to>
                                        <p:strVal val="visible"/>
                                      </p:to>
                                    </p:set>
                                    <p:animEffect transition="in" filter="fade">
                                      <p:cBhvr>
                                        <p:cTn id="81" dur="500"/>
                                        <p:tgtEl>
                                          <p:spTgt spid="13"/>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12"/>
                                        </p:tgtEl>
                                        <p:attrNameLst>
                                          <p:attrName>style.visibility</p:attrName>
                                        </p:attrNameLst>
                                      </p:cBhvr>
                                      <p:to>
                                        <p:strVal val="visible"/>
                                      </p:to>
                                    </p:set>
                                    <p:animEffect transition="in" filter="fade">
                                      <p:cBhvr>
                                        <p:cTn id="84"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1" grpId="0" animBg="1"/>
      <p:bldP spid="34" grpId="0" animBg="1"/>
      <p:bldP spid="35" grpId="0" animBg="1"/>
      <p:bldP spid="36" grpId="0" animBg="1"/>
      <p:bldP spid="37" grpId="0" animBg="1"/>
      <p:bldP spid="40" grpId="0" animBg="1"/>
      <p:bldP spid="41" grpId="0" animBg="1"/>
      <p:bldP spid="12" grpId="0" animBg="1"/>
      <p:bldP spid="13" grpId="0" animBg="1"/>
      <p:bldP spid="14" grpId="0" animBg="1"/>
      <p:bldP spid="18" grpId="0" animBg="1"/>
      <p:bldP spid="20" grpId="0" animBg="1"/>
      <p:bldP spid="21" grpId="0" animBg="1"/>
      <p:bldP spid="19" grpId="0" animBg="1"/>
      <p:bldP spid="22" grpId="0" animBg="1"/>
      <p:bldP spid="25" grpId="0" animBg="1"/>
      <p:bldP spid="23" grpId="0" animBg="1"/>
      <p:bldP spid="24" grpId="0" animBg="1"/>
      <p:bldP spid="26" grpId="0" animBg="1"/>
      <p:bldP spid="28" grpId="0" animBg="1"/>
      <p:bldP spid="29" grpId="0" animBg="1"/>
      <p:bldP spid="27" grpId="0" animBg="1"/>
      <p:bldP spid="30"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6600" dirty="0"/>
              <a:t>HDInsight</a:t>
            </a:r>
          </a:p>
        </p:txBody>
      </p:sp>
      <p:sp>
        <p:nvSpPr>
          <p:cNvPr id="3" name="Text Placeholder 2"/>
          <p:cNvSpPr>
            <a:spLocks noGrp="1"/>
          </p:cNvSpPr>
          <p:nvPr>
            <p:ph type="body" sz="quarter" idx="10"/>
          </p:nvPr>
        </p:nvSpPr>
        <p:spPr>
          <a:xfrm>
            <a:off x="274639" y="1520521"/>
            <a:ext cx="7007107" cy="2597634"/>
          </a:xfrm>
        </p:spPr>
        <p:txBody>
          <a:bodyPr/>
          <a:lstStyle/>
          <a:p>
            <a:pPr marL="571500" indent="-571500">
              <a:buFont typeface="Arial" panose="020B0604020202020204" pitchFamily="34" charset="0"/>
              <a:buChar char="•"/>
            </a:pPr>
            <a:r>
              <a:rPr lang="en-US" sz="3200" dirty="0">
                <a:solidFill>
                  <a:srgbClr val="002864"/>
                </a:solidFill>
              </a:rPr>
              <a:t>7 Cluster types</a:t>
            </a:r>
          </a:p>
          <a:p>
            <a:pPr marL="571500" indent="-571500">
              <a:buFont typeface="Arial" panose="020B0604020202020204" pitchFamily="34" charset="0"/>
              <a:buChar char="•"/>
            </a:pPr>
            <a:r>
              <a:rPr lang="en-US" sz="3200" dirty="0">
                <a:solidFill>
                  <a:srgbClr val="002864"/>
                </a:solidFill>
              </a:rPr>
              <a:t>Storage layer:  Azure Storage or Azure Data Lake provides the HDFS</a:t>
            </a:r>
          </a:p>
          <a:p>
            <a:pPr marL="571500" indent="-571500">
              <a:buFont typeface="Arial" panose="020B0604020202020204" pitchFamily="34" charset="0"/>
              <a:buChar char="•"/>
            </a:pPr>
            <a:r>
              <a:rPr lang="en-US" sz="3200" dirty="0">
                <a:solidFill>
                  <a:srgbClr val="002864"/>
                </a:solidFill>
              </a:rPr>
              <a:t>Azure SQL Database stores metadata</a:t>
            </a:r>
          </a:p>
        </p:txBody>
      </p:sp>
      <p:pic>
        <p:nvPicPr>
          <p:cNvPr id="4" name="Picture 3"/>
          <p:cNvPicPr>
            <a:picLocks noChangeAspect="1"/>
          </p:cNvPicPr>
          <p:nvPr/>
        </p:nvPicPr>
        <p:blipFill>
          <a:blip r:embed="rId3"/>
          <a:stretch>
            <a:fillRect/>
          </a:stretch>
        </p:blipFill>
        <p:spPr>
          <a:xfrm>
            <a:off x="8341113" y="110265"/>
            <a:ext cx="3961548" cy="1188464"/>
          </a:xfrm>
          <a:prstGeom prst="rect">
            <a:avLst/>
          </a:prstGeom>
        </p:spPr>
      </p:pic>
      <p:pic>
        <p:nvPicPr>
          <p:cNvPr id="5" name="Picture 4"/>
          <p:cNvPicPr>
            <a:picLocks noChangeAspect="1"/>
          </p:cNvPicPr>
          <p:nvPr/>
        </p:nvPicPr>
        <p:blipFill>
          <a:blip r:embed="rId4"/>
          <a:stretch>
            <a:fillRect/>
          </a:stretch>
        </p:blipFill>
        <p:spPr>
          <a:xfrm>
            <a:off x="800837" y="4310139"/>
            <a:ext cx="10952549" cy="2448878"/>
          </a:xfrm>
          <a:prstGeom prst="rect">
            <a:avLst/>
          </a:prstGeom>
        </p:spPr>
      </p:pic>
    </p:spTree>
    <p:extLst>
      <p:ext uri="{BB962C8B-B14F-4D97-AF65-F5344CB8AC3E}">
        <p14:creationId xmlns:p14="http://schemas.microsoft.com/office/powerpoint/2010/main" val="193417554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ing HDInsight Clusters</a:t>
            </a:r>
          </a:p>
        </p:txBody>
      </p:sp>
      <p:sp>
        <p:nvSpPr>
          <p:cNvPr id="3" name="Text Placeholder 2"/>
          <p:cNvSpPr>
            <a:spLocks noGrp="1"/>
          </p:cNvSpPr>
          <p:nvPr>
            <p:ph type="body" sz="quarter" idx="10"/>
          </p:nvPr>
        </p:nvSpPr>
        <p:spPr>
          <a:xfrm>
            <a:off x="274638" y="1212850"/>
            <a:ext cx="11887200" cy="4324261"/>
          </a:xfrm>
        </p:spPr>
        <p:txBody>
          <a:bodyPr/>
          <a:lstStyle/>
          <a:p>
            <a:pPr marL="571500" indent="-571500">
              <a:buFont typeface="Arial" panose="020B0604020202020204" pitchFamily="34" charset="0"/>
              <a:buChar char="•"/>
            </a:pPr>
            <a:r>
              <a:rPr lang="en-US" sz="2800" dirty="0"/>
              <a:t>Cluster Type: Hadoop, Spark, HBase, Storm, MRS, Interactive Hive, Kafka</a:t>
            </a:r>
          </a:p>
          <a:p>
            <a:pPr marL="1257300" lvl="4" indent="-571500">
              <a:buFont typeface="Arial" panose="020B0604020202020204" pitchFamily="34" charset="0"/>
              <a:buChar char="•"/>
            </a:pPr>
            <a:r>
              <a:rPr lang="en-US" dirty="0"/>
              <a:t>Hadoop clusters: for quick query and analysis workloads (build and tear down)</a:t>
            </a:r>
          </a:p>
          <a:p>
            <a:pPr marL="1257300" lvl="4" indent="-571500">
              <a:buFont typeface="Arial" panose="020B0604020202020204" pitchFamily="34" charset="0"/>
              <a:buChar char="•"/>
            </a:pPr>
            <a:r>
              <a:rPr lang="en-US" dirty="0" err="1"/>
              <a:t>HBase</a:t>
            </a:r>
            <a:r>
              <a:rPr lang="en-US" dirty="0"/>
              <a:t> clusters: for NoSQL workloads</a:t>
            </a:r>
          </a:p>
          <a:p>
            <a:pPr marL="1257300" lvl="4" indent="-571500">
              <a:buFont typeface="Arial" panose="020B0604020202020204" pitchFamily="34" charset="0"/>
              <a:buChar char="•"/>
            </a:pPr>
            <a:r>
              <a:rPr lang="en-US" dirty="0"/>
              <a:t>Spark clusters:  for fast data analytics and cluster computing using in-memory processing  </a:t>
            </a:r>
          </a:p>
          <a:p>
            <a:pPr marL="1257300" lvl="4" indent="-571500">
              <a:buFont typeface="Arial" panose="020B0604020202020204" pitchFamily="34" charset="0"/>
              <a:buChar char="•"/>
            </a:pPr>
            <a:r>
              <a:rPr lang="en-US" dirty="0"/>
              <a:t>Interactive Hive (preview):  for Enterprise Data Warehouse with in-memory analytics using Hive (SQL on Hadoop) and LLAP (Long Live and Process)</a:t>
            </a:r>
          </a:p>
          <a:p>
            <a:pPr marL="571500" indent="-571500">
              <a:buFont typeface="Arial" panose="020B0604020202020204" pitchFamily="34" charset="0"/>
              <a:buChar char="•"/>
            </a:pPr>
            <a:r>
              <a:rPr lang="en-US" sz="2800" dirty="0"/>
              <a:t>Operating System: Linux</a:t>
            </a:r>
          </a:p>
          <a:p>
            <a:pPr marL="571500" indent="-571500">
              <a:buFont typeface="Arial" panose="020B0604020202020204" pitchFamily="34" charset="0"/>
              <a:buChar char="•"/>
            </a:pPr>
            <a:r>
              <a:rPr lang="en-US" sz="2800" dirty="0"/>
              <a:t>Can be deployed from Azure portal, Azure Command Line Interface (CLI), or Azure PowerShell, Visual Studio, ARM templates</a:t>
            </a:r>
          </a:p>
          <a:p>
            <a:pPr marL="571500" indent="-571500">
              <a:buFont typeface="Arial" panose="020B0604020202020204" pitchFamily="34" charset="0"/>
              <a:buChar char="•"/>
            </a:pPr>
            <a:r>
              <a:rPr lang="en-US" sz="2800" dirty="0"/>
              <a:t>A UI dashboard is provided to the cluster through </a:t>
            </a:r>
            <a:r>
              <a:rPr lang="en-US" sz="2800" dirty="0" err="1"/>
              <a:t>Ambari</a:t>
            </a:r>
            <a:r>
              <a:rPr lang="en-US" sz="2800" dirty="0"/>
              <a:t>.</a:t>
            </a:r>
          </a:p>
          <a:p>
            <a:pPr marL="571500" indent="-571500">
              <a:buFont typeface="Arial" panose="020B0604020202020204" pitchFamily="34" charset="0"/>
              <a:buChar char="•"/>
            </a:pPr>
            <a:r>
              <a:rPr lang="en-US" sz="2800" dirty="0"/>
              <a:t>Remote Access through SSH, REST API, ODBC, JDBC</a:t>
            </a:r>
          </a:p>
        </p:txBody>
      </p:sp>
    </p:spTree>
    <p:extLst>
      <p:ext uri="{BB962C8B-B14F-4D97-AF65-F5344CB8AC3E}">
        <p14:creationId xmlns:p14="http://schemas.microsoft.com/office/powerpoint/2010/main" val="138663100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ing Hive to Query Data</a:t>
            </a:r>
          </a:p>
        </p:txBody>
      </p:sp>
      <p:sp>
        <p:nvSpPr>
          <p:cNvPr id="3" name="Text Placeholder 2"/>
          <p:cNvSpPr>
            <a:spLocks noGrp="1"/>
          </p:cNvSpPr>
          <p:nvPr>
            <p:ph type="body" sz="quarter" idx="10"/>
          </p:nvPr>
        </p:nvSpPr>
        <p:spPr>
          <a:xfrm>
            <a:off x="274638" y="1212850"/>
            <a:ext cx="7655159" cy="5656933"/>
          </a:xfrm>
        </p:spPr>
        <p:txBody>
          <a:bodyPr/>
          <a:lstStyle/>
          <a:p>
            <a:pPr marL="571500" indent="-571500">
              <a:buFont typeface="Arial" panose="020B0604020202020204" pitchFamily="34" charset="0"/>
              <a:buChar char="•"/>
            </a:pPr>
            <a:r>
              <a:rPr lang="en-US" sz="2800" dirty="0"/>
              <a:t>Hive is a higher-level abstraction of MapReduce.</a:t>
            </a:r>
          </a:p>
          <a:p>
            <a:pPr marL="571500" indent="-571500">
              <a:buFont typeface="Arial" panose="020B0604020202020204" pitchFamily="34" charset="0"/>
              <a:buChar char="•"/>
            </a:pPr>
            <a:r>
              <a:rPr lang="en-US" sz="2800" dirty="0"/>
              <a:t>It provides a structure for highly unstructured data by delivering metadata service that projects tabular schemas over folders.</a:t>
            </a:r>
          </a:p>
          <a:p>
            <a:pPr marL="571500" indent="-571500">
              <a:buFont typeface="Arial" panose="020B0604020202020204" pitchFamily="34" charset="0"/>
              <a:buChar char="•"/>
            </a:pPr>
            <a:r>
              <a:rPr lang="en-US" sz="2800" dirty="0"/>
              <a:t>Enables the contents of folders to be queried as though they were tables.</a:t>
            </a:r>
          </a:p>
          <a:p>
            <a:pPr marL="571500" indent="-571500">
              <a:buFont typeface="Arial" panose="020B0604020202020204" pitchFamily="34" charset="0"/>
              <a:buChar char="•"/>
            </a:pPr>
            <a:r>
              <a:rPr lang="en-US" sz="2800" dirty="0"/>
              <a:t>It provides a SQL-like query semantics that are translated into </a:t>
            </a:r>
            <a:r>
              <a:rPr lang="en-US" sz="2800" dirty="0" err="1"/>
              <a:t>Tez</a:t>
            </a:r>
            <a:r>
              <a:rPr lang="en-US" sz="2800" dirty="0"/>
              <a:t> or MapReduce jobs (no need to write Java or MapReduce!).</a:t>
            </a:r>
          </a:p>
          <a:p>
            <a:pPr marL="571500" indent="-571500">
              <a:buFont typeface="Arial" panose="020B0604020202020204" pitchFamily="34" charset="0"/>
              <a:buChar char="•"/>
            </a:pPr>
            <a:r>
              <a:rPr lang="en-US" sz="2800" dirty="0"/>
              <a:t>Not a relational database.</a:t>
            </a:r>
          </a:p>
          <a:p>
            <a:pPr marL="571500" indent="-571500">
              <a:buFont typeface="Arial" panose="020B0604020202020204" pitchFamily="34" charset="0"/>
              <a:buChar char="•"/>
            </a:pPr>
            <a:r>
              <a:rPr lang="en-US" sz="2800" dirty="0"/>
              <a:t>Persistent data through Azure Blob Storage or ADL</a:t>
            </a:r>
          </a:p>
        </p:txBody>
      </p:sp>
      <p:grpSp>
        <p:nvGrpSpPr>
          <p:cNvPr id="4" name="Group 3"/>
          <p:cNvGrpSpPr/>
          <p:nvPr/>
        </p:nvGrpSpPr>
        <p:grpSpPr>
          <a:xfrm>
            <a:off x="8508402" y="1689767"/>
            <a:ext cx="2577385" cy="2509959"/>
            <a:chOff x="306837" y="2966952"/>
            <a:chExt cx="1385600" cy="1352860"/>
          </a:xfrm>
        </p:grpSpPr>
        <p:sp>
          <p:nvSpPr>
            <p:cNvPr id="5" name="Freeform 4"/>
            <p:cNvSpPr/>
            <p:nvPr/>
          </p:nvSpPr>
          <p:spPr bwMode="auto">
            <a:xfrm>
              <a:off x="688501" y="3519487"/>
              <a:ext cx="752155" cy="800325"/>
            </a:xfrm>
            <a:custGeom>
              <a:avLst/>
              <a:gdLst>
                <a:gd name="connsiteX0" fmla="*/ 338138 w 728663"/>
                <a:gd name="connsiteY0" fmla="*/ 0 h 823912"/>
                <a:gd name="connsiteX1" fmla="*/ 73819 w 728663"/>
                <a:gd name="connsiteY1" fmla="*/ 97631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35719 w 728663"/>
                <a:gd name="connsiteY1" fmla="*/ 73819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97631 w 728663"/>
                <a:gd name="connsiteY1" fmla="*/ 66675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97631 w 728663"/>
                <a:gd name="connsiteY1" fmla="*/ 66675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97631 w 728663"/>
                <a:gd name="connsiteY1" fmla="*/ 66675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21470 w 711995"/>
                <a:gd name="connsiteY0" fmla="*/ 0 h 823912"/>
                <a:gd name="connsiteX1" fmla="*/ 80963 w 711995"/>
                <a:gd name="connsiteY1" fmla="*/ 66675 h 823912"/>
                <a:gd name="connsiteX2" fmla="*/ 0 w 711995"/>
                <a:gd name="connsiteY2" fmla="*/ 497681 h 823912"/>
                <a:gd name="connsiteX3" fmla="*/ 450057 w 711995"/>
                <a:gd name="connsiteY3" fmla="*/ 823912 h 823912"/>
                <a:gd name="connsiteX4" fmla="*/ 711995 w 711995"/>
                <a:gd name="connsiteY4" fmla="*/ 733425 h 823912"/>
                <a:gd name="connsiteX5" fmla="*/ 476251 w 711995"/>
                <a:gd name="connsiteY5" fmla="*/ 707231 h 823912"/>
                <a:gd name="connsiteX6" fmla="*/ 495301 w 711995"/>
                <a:gd name="connsiteY6" fmla="*/ 621506 h 823912"/>
                <a:gd name="connsiteX7" fmla="*/ 497682 w 711995"/>
                <a:gd name="connsiteY7" fmla="*/ 571500 h 823912"/>
                <a:gd name="connsiteX8" fmla="*/ 350045 w 711995"/>
                <a:gd name="connsiteY8" fmla="*/ 423862 h 823912"/>
                <a:gd name="connsiteX9" fmla="*/ 521495 w 711995"/>
                <a:gd name="connsiteY9" fmla="*/ 528637 h 823912"/>
                <a:gd name="connsiteX10" fmla="*/ 521495 w 711995"/>
                <a:gd name="connsiteY10" fmla="*/ 302418 h 823912"/>
                <a:gd name="connsiteX11" fmla="*/ 357189 w 711995"/>
                <a:gd name="connsiteY11" fmla="*/ 54768 h 823912"/>
                <a:gd name="connsiteX12" fmla="*/ 321470 w 711995"/>
                <a:gd name="connsiteY12" fmla="*/ 0 h 823912"/>
                <a:gd name="connsiteX0" fmla="*/ 347343 w 737868"/>
                <a:gd name="connsiteY0" fmla="*/ 0 h 823912"/>
                <a:gd name="connsiteX1" fmla="*/ 106836 w 737868"/>
                <a:gd name="connsiteY1" fmla="*/ 66675 h 823912"/>
                <a:gd name="connsiteX2" fmla="*/ 25873 w 737868"/>
                <a:gd name="connsiteY2" fmla="*/ 497681 h 823912"/>
                <a:gd name="connsiteX3" fmla="*/ 475930 w 737868"/>
                <a:gd name="connsiteY3" fmla="*/ 823912 h 823912"/>
                <a:gd name="connsiteX4" fmla="*/ 737868 w 737868"/>
                <a:gd name="connsiteY4" fmla="*/ 733425 h 823912"/>
                <a:gd name="connsiteX5" fmla="*/ 502124 w 737868"/>
                <a:gd name="connsiteY5" fmla="*/ 707231 h 823912"/>
                <a:gd name="connsiteX6" fmla="*/ 521174 w 737868"/>
                <a:gd name="connsiteY6" fmla="*/ 621506 h 823912"/>
                <a:gd name="connsiteX7" fmla="*/ 523555 w 737868"/>
                <a:gd name="connsiteY7" fmla="*/ 571500 h 823912"/>
                <a:gd name="connsiteX8" fmla="*/ 375918 w 737868"/>
                <a:gd name="connsiteY8" fmla="*/ 423862 h 823912"/>
                <a:gd name="connsiteX9" fmla="*/ 547368 w 737868"/>
                <a:gd name="connsiteY9" fmla="*/ 528637 h 823912"/>
                <a:gd name="connsiteX10" fmla="*/ 547368 w 737868"/>
                <a:gd name="connsiteY10" fmla="*/ 302418 h 823912"/>
                <a:gd name="connsiteX11" fmla="*/ 383062 w 737868"/>
                <a:gd name="connsiteY11" fmla="*/ 54768 h 823912"/>
                <a:gd name="connsiteX12" fmla="*/ 347343 w 737868"/>
                <a:gd name="connsiteY12" fmla="*/ 0 h 823912"/>
                <a:gd name="connsiteX0" fmla="*/ 347343 w 737868"/>
                <a:gd name="connsiteY0" fmla="*/ 0 h 823912"/>
                <a:gd name="connsiteX1" fmla="*/ 106836 w 737868"/>
                <a:gd name="connsiteY1" fmla="*/ 66675 h 823912"/>
                <a:gd name="connsiteX2" fmla="*/ 25873 w 737868"/>
                <a:gd name="connsiteY2" fmla="*/ 497681 h 823912"/>
                <a:gd name="connsiteX3" fmla="*/ 475930 w 737868"/>
                <a:gd name="connsiteY3" fmla="*/ 823912 h 823912"/>
                <a:gd name="connsiteX4" fmla="*/ 737868 w 737868"/>
                <a:gd name="connsiteY4" fmla="*/ 733425 h 823912"/>
                <a:gd name="connsiteX5" fmla="*/ 502124 w 737868"/>
                <a:gd name="connsiteY5" fmla="*/ 707231 h 823912"/>
                <a:gd name="connsiteX6" fmla="*/ 521174 w 737868"/>
                <a:gd name="connsiteY6" fmla="*/ 621506 h 823912"/>
                <a:gd name="connsiteX7" fmla="*/ 523555 w 737868"/>
                <a:gd name="connsiteY7" fmla="*/ 571500 h 823912"/>
                <a:gd name="connsiteX8" fmla="*/ 375918 w 737868"/>
                <a:gd name="connsiteY8" fmla="*/ 423862 h 823912"/>
                <a:gd name="connsiteX9" fmla="*/ 547368 w 737868"/>
                <a:gd name="connsiteY9" fmla="*/ 528637 h 823912"/>
                <a:gd name="connsiteX10" fmla="*/ 547368 w 737868"/>
                <a:gd name="connsiteY10" fmla="*/ 302418 h 823912"/>
                <a:gd name="connsiteX11" fmla="*/ 383062 w 737868"/>
                <a:gd name="connsiteY11" fmla="*/ 54768 h 823912"/>
                <a:gd name="connsiteX12" fmla="*/ 347343 w 737868"/>
                <a:gd name="connsiteY12" fmla="*/ 0 h 823912"/>
                <a:gd name="connsiteX0" fmla="*/ 347343 w 737868"/>
                <a:gd name="connsiteY0" fmla="*/ 0 h 795337"/>
                <a:gd name="connsiteX1" fmla="*/ 106836 w 737868"/>
                <a:gd name="connsiteY1" fmla="*/ 66675 h 795337"/>
                <a:gd name="connsiteX2" fmla="*/ 25873 w 737868"/>
                <a:gd name="connsiteY2" fmla="*/ 497681 h 795337"/>
                <a:gd name="connsiteX3" fmla="*/ 487836 w 737868"/>
                <a:gd name="connsiteY3" fmla="*/ 795337 h 795337"/>
                <a:gd name="connsiteX4" fmla="*/ 737868 w 737868"/>
                <a:gd name="connsiteY4" fmla="*/ 733425 h 795337"/>
                <a:gd name="connsiteX5" fmla="*/ 502124 w 737868"/>
                <a:gd name="connsiteY5" fmla="*/ 707231 h 795337"/>
                <a:gd name="connsiteX6" fmla="*/ 521174 w 737868"/>
                <a:gd name="connsiteY6" fmla="*/ 621506 h 795337"/>
                <a:gd name="connsiteX7" fmla="*/ 523555 w 737868"/>
                <a:gd name="connsiteY7" fmla="*/ 571500 h 795337"/>
                <a:gd name="connsiteX8" fmla="*/ 375918 w 737868"/>
                <a:gd name="connsiteY8" fmla="*/ 423862 h 795337"/>
                <a:gd name="connsiteX9" fmla="*/ 547368 w 737868"/>
                <a:gd name="connsiteY9" fmla="*/ 528637 h 795337"/>
                <a:gd name="connsiteX10" fmla="*/ 547368 w 737868"/>
                <a:gd name="connsiteY10" fmla="*/ 302418 h 795337"/>
                <a:gd name="connsiteX11" fmla="*/ 383062 w 737868"/>
                <a:gd name="connsiteY11" fmla="*/ 54768 h 795337"/>
                <a:gd name="connsiteX12" fmla="*/ 347343 w 737868"/>
                <a:gd name="connsiteY12" fmla="*/ 0 h 795337"/>
                <a:gd name="connsiteX0" fmla="*/ 347343 w 737868"/>
                <a:gd name="connsiteY0" fmla="*/ 0 h 800325"/>
                <a:gd name="connsiteX1" fmla="*/ 106836 w 737868"/>
                <a:gd name="connsiteY1" fmla="*/ 66675 h 800325"/>
                <a:gd name="connsiteX2" fmla="*/ 25873 w 737868"/>
                <a:gd name="connsiteY2" fmla="*/ 497681 h 800325"/>
                <a:gd name="connsiteX3" fmla="*/ 487836 w 737868"/>
                <a:gd name="connsiteY3" fmla="*/ 795337 h 800325"/>
                <a:gd name="connsiteX4" fmla="*/ 737868 w 737868"/>
                <a:gd name="connsiteY4" fmla="*/ 733425 h 800325"/>
                <a:gd name="connsiteX5" fmla="*/ 502124 w 737868"/>
                <a:gd name="connsiteY5" fmla="*/ 707231 h 800325"/>
                <a:gd name="connsiteX6" fmla="*/ 521174 w 737868"/>
                <a:gd name="connsiteY6" fmla="*/ 621506 h 800325"/>
                <a:gd name="connsiteX7" fmla="*/ 523555 w 737868"/>
                <a:gd name="connsiteY7" fmla="*/ 571500 h 800325"/>
                <a:gd name="connsiteX8" fmla="*/ 375918 w 737868"/>
                <a:gd name="connsiteY8" fmla="*/ 423862 h 800325"/>
                <a:gd name="connsiteX9" fmla="*/ 547368 w 737868"/>
                <a:gd name="connsiteY9" fmla="*/ 528637 h 800325"/>
                <a:gd name="connsiteX10" fmla="*/ 547368 w 737868"/>
                <a:gd name="connsiteY10" fmla="*/ 302418 h 800325"/>
                <a:gd name="connsiteX11" fmla="*/ 383062 w 737868"/>
                <a:gd name="connsiteY11" fmla="*/ 54768 h 800325"/>
                <a:gd name="connsiteX12" fmla="*/ 347343 w 737868"/>
                <a:gd name="connsiteY12" fmla="*/ 0 h 800325"/>
                <a:gd name="connsiteX0" fmla="*/ 347343 w 771205"/>
                <a:gd name="connsiteY0" fmla="*/ 0 h 800325"/>
                <a:gd name="connsiteX1" fmla="*/ 106836 w 771205"/>
                <a:gd name="connsiteY1" fmla="*/ 66675 h 800325"/>
                <a:gd name="connsiteX2" fmla="*/ 25873 w 771205"/>
                <a:gd name="connsiteY2" fmla="*/ 497681 h 800325"/>
                <a:gd name="connsiteX3" fmla="*/ 487836 w 771205"/>
                <a:gd name="connsiteY3" fmla="*/ 795337 h 800325"/>
                <a:gd name="connsiteX4" fmla="*/ 771205 w 771205"/>
                <a:gd name="connsiteY4" fmla="*/ 707232 h 800325"/>
                <a:gd name="connsiteX5" fmla="*/ 502124 w 771205"/>
                <a:gd name="connsiteY5" fmla="*/ 707231 h 800325"/>
                <a:gd name="connsiteX6" fmla="*/ 521174 w 771205"/>
                <a:gd name="connsiteY6" fmla="*/ 621506 h 800325"/>
                <a:gd name="connsiteX7" fmla="*/ 523555 w 771205"/>
                <a:gd name="connsiteY7" fmla="*/ 571500 h 800325"/>
                <a:gd name="connsiteX8" fmla="*/ 375918 w 771205"/>
                <a:gd name="connsiteY8" fmla="*/ 423862 h 800325"/>
                <a:gd name="connsiteX9" fmla="*/ 547368 w 771205"/>
                <a:gd name="connsiteY9" fmla="*/ 528637 h 800325"/>
                <a:gd name="connsiteX10" fmla="*/ 547368 w 771205"/>
                <a:gd name="connsiteY10" fmla="*/ 302418 h 800325"/>
                <a:gd name="connsiteX11" fmla="*/ 383062 w 771205"/>
                <a:gd name="connsiteY11" fmla="*/ 54768 h 800325"/>
                <a:gd name="connsiteX12" fmla="*/ 347343 w 771205"/>
                <a:gd name="connsiteY12" fmla="*/ 0 h 800325"/>
                <a:gd name="connsiteX0" fmla="*/ 347343 w 771205"/>
                <a:gd name="connsiteY0" fmla="*/ 0 h 800325"/>
                <a:gd name="connsiteX1" fmla="*/ 106836 w 771205"/>
                <a:gd name="connsiteY1" fmla="*/ 66675 h 800325"/>
                <a:gd name="connsiteX2" fmla="*/ 25873 w 771205"/>
                <a:gd name="connsiteY2" fmla="*/ 497681 h 800325"/>
                <a:gd name="connsiteX3" fmla="*/ 487836 w 771205"/>
                <a:gd name="connsiteY3" fmla="*/ 795337 h 800325"/>
                <a:gd name="connsiteX4" fmla="*/ 771205 w 771205"/>
                <a:gd name="connsiteY4" fmla="*/ 707232 h 800325"/>
                <a:gd name="connsiteX5" fmla="*/ 502124 w 771205"/>
                <a:gd name="connsiteY5" fmla="*/ 707231 h 800325"/>
                <a:gd name="connsiteX6" fmla="*/ 521174 w 771205"/>
                <a:gd name="connsiteY6" fmla="*/ 621506 h 800325"/>
                <a:gd name="connsiteX7" fmla="*/ 523555 w 771205"/>
                <a:gd name="connsiteY7" fmla="*/ 571500 h 800325"/>
                <a:gd name="connsiteX8" fmla="*/ 375918 w 771205"/>
                <a:gd name="connsiteY8" fmla="*/ 423862 h 800325"/>
                <a:gd name="connsiteX9" fmla="*/ 547368 w 771205"/>
                <a:gd name="connsiteY9" fmla="*/ 528637 h 800325"/>
                <a:gd name="connsiteX10" fmla="*/ 547368 w 771205"/>
                <a:gd name="connsiteY10" fmla="*/ 302418 h 800325"/>
                <a:gd name="connsiteX11" fmla="*/ 383062 w 771205"/>
                <a:gd name="connsiteY11" fmla="*/ 54768 h 800325"/>
                <a:gd name="connsiteX12" fmla="*/ 347343 w 77120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502124 w 752155"/>
                <a:gd name="connsiteY5" fmla="*/ 707231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11649 w 752155"/>
                <a:gd name="connsiteY6" fmla="*/ 666751 h 800325"/>
                <a:gd name="connsiteX7" fmla="*/ 521174 w 752155"/>
                <a:gd name="connsiteY7" fmla="*/ 621506 h 800325"/>
                <a:gd name="connsiteX8" fmla="*/ 523555 w 752155"/>
                <a:gd name="connsiteY8" fmla="*/ 571500 h 800325"/>
                <a:gd name="connsiteX9" fmla="*/ 375918 w 752155"/>
                <a:gd name="connsiteY9" fmla="*/ 423862 h 800325"/>
                <a:gd name="connsiteX10" fmla="*/ 547368 w 752155"/>
                <a:gd name="connsiteY10" fmla="*/ 528637 h 800325"/>
                <a:gd name="connsiteX11" fmla="*/ 547368 w 752155"/>
                <a:gd name="connsiteY11" fmla="*/ 302418 h 800325"/>
                <a:gd name="connsiteX12" fmla="*/ 383062 w 752155"/>
                <a:gd name="connsiteY12" fmla="*/ 54768 h 800325"/>
                <a:gd name="connsiteX13" fmla="*/ 347343 w 752155"/>
                <a:gd name="connsiteY13"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521174 w 752155"/>
                <a:gd name="connsiteY7" fmla="*/ 621506 h 800325"/>
                <a:gd name="connsiteX8" fmla="*/ 523555 w 752155"/>
                <a:gd name="connsiteY8" fmla="*/ 571500 h 800325"/>
                <a:gd name="connsiteX9" fmla="*/ 375918 w 752155"/>
                <a:gd name="connsiteY9" fmla="*/ 423862 h 800325"/>
                <a:gd name="connsiteX10" fmla="*/ 547368 w 752155"/>
                <a:gd name="connsiteY10" fmla="*/ 528637 h 800325"/>
                <a:gd name="connsiteX11" fmla="*/ 547368 w 752155"/>
                <a:gd name="connsiteY11" fmla="*/ 302418 h 800325"/>
                <a:gd name="connsiteX12" fmla="*/ 383062 w 752155"/>
                <a:gd name="connsiteY12" fmla="*/ 54768 h 800325"/>
                <a:gd name="connsiteX13" fmla="*/ 347343 w 752155"/>
                <a:gd name="connsiteY13"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528318 w 752155"/>
                <a:gd name="connsiteY7" fmla="*/ 642938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387824 w 752155"/>
                <a:gd name="connsiteY7" fmla="*/ 614363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387824 w 752155"/>
                <a:gd name="connsiteY7" fmla="*/ 614363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47368 w 752155"/>
                <a:gd name="connsiteY9" fmla="*/ 545306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37843 w 752155"/>
                <a:gd name="connsiteY9" fmla="*/ 578644 h 800325"/>
                <a:gd name="connsiteX10" fmla="*/ 547368 w 752155"/>
                <a:gd name="connsiteY10" fmla="*/ 545306 h 800325"/>
                <a:gd name="connsiteX11" fmla="*/ 375918 w 752155"/>
                <a:gd name="connsiteY11" fmla="*/ 423862 h 800325"/>
                <a:gd name="connsiteX12" fmla="*/ 547368 w 752155"/>
                <a:gd name="connsiteY12" fmla="*/ 528637 h 800325"/>
                <a:gd name="connsiteX13" fmla="*/ 547368 w 752155"/>
                <a:gd name="connsiteY13" fmla="*/ 302418 h 800325"/>
                <a:gd name="connsiteX14" fmla="*/ 383062 w 752155"/>
                <a:gd name="connsiteY14" fmla="*/ 54768 h 800325"/>
                <a:gd name="connsiteX15" fmla="*/ 347343 w 752155"/>
                <a:gd name="connsiteY15"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1630 w 752155"/>
                <a:gd name="connsiteY9" fmla="*/ 554831 h 800325"/>
                <a:gd name="connsiteX10" fmla="*/ 547368 w 752155"/>
                <a:gd name="connsiteY10" fmla="*/ 545306 h 800325"/>
                <a:gd name="connsiteX11" fmla="*/ 375918 w 752155"/>
                <a:gd name="connsiteY11" fmla="*/ 423862 h 800325"/>
                <a:gd name="connsiteX12" fmla="*/ 547368 w 752155"/>
                <a:gd name="connsiteY12" fmla="*/ 528637 h 800325"/>
                <a:gd name="connsiteX13" fmla="*/ 547368 w 752155"/>
                <a:gd name="connsiteY13" fmla="*/ 302418 h 800325"/>
                <a:gd name="connsiteX14" fmla="*/ 383062 w 752155"/>
                <a:gd name="connsiteY14" fmla="*/ 54768 h 800325"/>
                <a:gd name="connsiteX15" fmla="*/ 347343 w 752155"/>
                <a:gd name="connsiteY15"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1630 w 752155"/>
                <a:gd name="connsiteY9" fmla="*/ 554831 h 800325"/>
                <a:gd name="connsiteX10" fmla="*/ 447355 w 752155"/>
                <a:gd name="connsiteY10" fmla="*/ 552451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1630 w 752155"/>
                <a:gd name="connsiteY9" fmla="*/ 554831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99730 w 752155"/>
                <a:gd name="connsiteY12" fmla="*/ 428624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99730 w 752155"/>
                <a:gd name="connsiteY12" fmla="*/ 428624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99730 w 752155"/>
                <a:gd name="connsiteY12" fmla="*/ 428624 h 800325"/>
                <a:gd name="connsiteX13" fmla="*/ 533080 w 752155"/>
                <a:gd name="connsiteY13" fmla="*/ 435768 h 800325"/>
                <a:gd name="connsiteX14" fmla="*/ 547368 w 752155"/>
                <a:gd name="connsiteY14" fmla="*/ 302418 h 800325"/>
                <a:gd name="connsiteX15" fmla="*/ 383062 w 752155"/>
                <a:gd name="connsiteY15" fmla="*/ 54768 h 800325"/>
                <a:gd name="connsiteX16" fmla="*/ 347343 w 752155"/>
                <a:gd name="connsiteY16" fmla="*/ 0 h 80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52155" h="800325">
                  <a:moveTo>
                    <a:pt x="347343" y="0"/>
                  </a:moveTo>
                  <a:cubicBezTo>
                    <a:pt x="267174" y="22225"/>
                    <a:pt x="165574" y="11112"/>
                    <a:pt x="106836" y="66675"/>
                  </a:cubicBezTo>
                  <a:cubicBezTo>
                    <a:pt x="-11433" y="199230"/>
                    <a:pt x="-20164" y="298450"/>
                    <a:pt x="25873" y="497681"/>
                  </a:cubicBezTo>
                  <a:cubicBezTo>
                    <a:pt x="106835" y="742156"/>
                    <a:pt x="421161" y="822324"/>
                    <a:pt x="487836" y="795337"/>
                  </a:cubicBezTo>
                  <a:lnTo>
                    <a:pt x="752155" y="709613"/>
                  </a:lnTo>
                  <a:cubicBezTo>
                    <a:pt x="660079" y="719138"/>
                    <a:pt x="534668" y="731044"/>
                    <a:pt x="464024" y="695325"/>
                  </a:cubicBezTo>
                  <a:cubicBezTo>
                    <a:pt x="423940" y="688181"/>
                    <a:pt x="518793" y="698103"/>
                    <a:pt x="528318" y="685800"/>
                  </a:cubicBezTo>
                  <a:cubicBezTo>
                    <a:pt x="539034" y="677069"/>
                    <a:pt x="431878" y="688975"/>
                    <a:pt x="387824" y="614363"/>
                  </a:cubicBezTo>
                  <a:cubicBezTo>
                    <a:pt x="469976" y="611188"/>
                    <a:pt x="524349" y="619123"/>
                    <a:pt x="523555" y="607217"/>
                  </a:cubicBezTo>
                  <a:cubicBezTo>
                    <a:pt x="474343" y="604837"/>
                    <a:pt x="408461" y="600074"/>
                    <a:pt x="366392" y="557212"/>
                  </a:cubicBezTo>
                  <a:lnTo>
                    <a:pt x="383061" y="483395"/>
                  </a:lnTo>
                  <a:cubicBezTo>
                    <a:pt x="425923" y="532607"/>
                    <a:pt x="473550" y="553243"/>
                    <a:pt x="533080" y="559594"/>
                  </a:cubicBezTo>
                  <a:cubicBezTo>
                    <a:pt x="466405" y="540544"/>
                    <a:pt x="418779" y="488155"/>
                    <a:pt x="399730" y="428624"/>
                  </a:cubicBezTo>
                  <a:lnTo>
                    <a:pt x="533080" y="435768"/>
                  </a:lnTo>
                  <a:lnTo>
                    <a:pt x="547368" y="302418"/>
                  </a:lnTo>
                  <a:lnTo>
                    <a:pt x="383062" y="54768"/>
                  </a:lnTo>
                  <a:lnTo>
                    <a:pt x="347343" y="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ea typeface="Segoe UI" pitchFamily="34" charset="0"/>
                <a:cs typeface="Segoe UI" pitchFamily="34" charset="0"/>
              </a:endParaRPr>
            </a:p>
          </p:txBody>
        </p:sp>
        <p:grpSp>
          <p:nvGrpSpPr>
            <p:cNvPr id="6" name="Group 5"/>
            <p:cNvGrpSpPr/>
            <p:nvPr/>
          </p:nvGrpSpPr>
          <p:grpSpPr>
            <a:xfrm>
              <a:off x="306837" y="2966952"/>
              <a:ext cx="1385600" cy="1351044"/>
              <a:chOff x="1058398" y="3354141"/>
              <a:chExt cx="533724" cy="520412"/>
            </a:xfrm>
          </p:grpSpPr>
          <p:sp>
            <p:nvSpPr>
              <p:cNvPr id="7" name="Freeform 6"/>
              <p:cNvSpPr/>
              <p:nvPr/>
            </p:nvSpPr>
            <p:spPr bwMode="auto">
              <a:xfrm>
                <a:off x="1058398" y="3354142"/>
                <a:ext cx="533723" cy="415322"/>
              </a:xfrm>
              <a:custGeom>
                <a:avLst/>
                <a:gdLst>
                  <a:gd name="connsiteX0" fmla="*/ 528506 w 533723"/>
                  <a:gd name="connsiteY0" fmla="*/ 291832 h 418083"/>
                  <a:gd name="connsiteX1" fmla="*/ 510121 w 533723"/>
                  <a:gd name="connsiteY1" fmla="*/ 300446 h 418083"/>
                  <a:gd name="connsiteX2" fmla="*/ 500354 w 533723"/>
                  <a:gd name="connsiteY2" fmla="*/ 302312 h 418083"/>
                  <a:gd name="connsiteX3" fmla="*/ 489695 w 533723"/>
                  <a:gd name="connsiteY3" fmla="*/ 299159 h 418083"/>
                  <a:gd name="connsiteX4" fmla="*/ 490953 w 533723"/>
                  <a:gd name="connsiteY4" fmla="*/ 302242 h 418083"/>
                  <a:gd name="connsiteX5" fmla="*/ 490826 w 533723"/>
                  <a:gd name="connsiteY5" fmla="*/ 302554 h 418083"/>
                  <a:gd name="connsiteX6" fmla="*/ 497481 w 533723"/>
                  <a:gd name="connsiteY6" fmla="*/ 306188 h 418083"/>
                  <a:gd name="connsiteX7" fmla="*/ 505812 w 533723"/>
                  <a:gd name="connsiteY7" fmla="*/ 305901 h 418083"/>
                  <a:gd name="connsiteX8" fmla="*/ 523335 w 533723"/>
                  <a:gd name="connsiteY8" fmla="*/ 297575 h 418083"/>
                  <a:gd name="connsiteX9" fmla="*/ 528506 w 533723"/>
                  <a:gd name="connsiteY9" fmla="*/ 291832 h 418083"/>
                  <a:gd name="connsiteX10" fmla="*/ 459095 w 533723"/>
                  <a:gd name="connsiteY10" fmla="*/ 214354 h 418083"/>
                  <a:gd name="connsiteX11" fmla="*/ 470185 w 533723"/>
                  <a:gd name="connsiteY11" fmla="*/ 232917 h 418083"/>
                  <a:gd name="connsiteX12" fmla="*/ 469083 w 533723"/>
                  <a:gd name="connsiteY12" fmla="*/ 236710 h 418083"/>
                  <a:gd name="connsiteX13" fmla="*/ 465107 w 533723"/>
                  <a:gd name="connsiteY13" fmla="*/ 228628 h 418083"/>
                  <a:gd name="connsiteX14" fmla="*/ 462850 w 533723"/>
                  <a:gd name="connsiteY14" fmla="*/ 223907 h 418083"/>
                  <a:gd name="connsiteX15" fmla="*/ 461361 w 533723"/>
                  <a:gd name="connsiteY15" fmla="*/ 220754 h 418083"/>
                  <a:gd name="connsiteX16" fmla="*/ 458921 w 533723"/>
                  <a:gd name="connsiteY16" fmla="*/ 213862 h 418083"/>
                  <a:gd name="connsiteX17" fmla="*/ 459095 w 533723"/>
                  <a:gd name="connsiteY17" fmla="*/ 214354 h 418083"/>
                  <a:gd name="connsiteX18" fmla="*/ 458953 w 533723"/>
                  <a:gd name="connsiteY18" fmla="*/ 214116 h 418083"/>
                  <a:gd name="connsiteX19" fmla="*/ 231642 w 533723"/>
                  <a:gd name="connsiteY19" fmla="*/ 117869 h 418083"/>
                  <a:gd name="connsiteX20" fmla="*/ 245739 w 533723"/>
                  <a:gd name="connsiteY20" fmla="*/ 119960 h 418083"/>
                  <a:gd name="connsiteX21" fmla="*/ 247479 w 533723"/>
                  <a:gd name="connsiteY21" fmla="*/ 117948 h 418083"/>
                  <a:gd name="connsiteX22" fmla="*/ 241439 w 533723"/>
                  <a:gd name="connsiteY22" fmla="*/ 117896 h 418083"/>
                  <a:gd name="connsiteX23" fmla="*/ 231642 w 533723"/>
                  <a:gd name="connsiteY23" fmla="*/ 117869 h 418083"/>
                  <a:gd name="connsiteX24" fmla="*/ 393966 w 533723"/>
                  <a:gd name="connsiteY24" fmla="*/ 59548 h 418083"/>
                  <a:gd name="connsiteX25" fmla="*/ 394760 w 533723"/>
                  <a:gd name="connsiteY25" fmla="*/ 61641 h 418083"/>
                  <a:gd name="connsiteX26" fmla="*/ 396543 w 533723"/>
                  <a:gd name="connsiteY26" fmla="*/ 61922 h 418083"/>
                  <a:gd name="connsiteX27" fmla="*/ 135290 w 533723"/>
                  <a:gd name="connsiteY27" fmla="*/ 95 h 418083"/>
                  <a:gd name="connsiteX28" fmla="*/ 142002 w 533723"/>
                  <a:gd name="connsiteY28" fmla="*/ 118 h 418083"/>
                  <a:gd name="connsiteX29" fmla="*/ 184247 w 533723"/>
                  <a:gd name="connsiteY29" fmla="*/ 9888 h 418083"/>
                  <a:gd name="connsiteX30" fmla="*/ 237411 w 533723"/>
                  <a:gd name="connsiteY30" fmla="*/ 31727 h 418083"/>
                  <a:gd name="connsiteX31" fmla="*/ 273908 w 533723"/>
                  <a:gd name="connsiteY31" fmla="*/ 50693 h 418083"/>
                  <a:gd name="connsiteX32" fmla="*/ 300993 w 533723"/>
                  <a:gd name="connsiteY32" fmla="*/ 65241 h 418083"/>
                  <a:gd name="connsiteX33" fmla="*/ 313770 w 533723"/>
                  <a:gd name="connsiteY33" fmla="*/ 72415 h 418083"/>
                  <a:gd name="connsiteX34" fmla="*/ 317458 w 533723"/>
                  <a:gd name="connsiteY34" fmla="*/ 74704 h 418083"/>
                  <a:gd name="connsiteX35" fmla="*/ 321989 w 533723"/>
                  <a:gd name="connsiteY35" fmla="*/ 77518 h 418083"/>
                  <a:gd name="connsiteX36" fmla="*/ 328509 w 533723"/>
                  <a:gd name="connsiteY36" fmla="*/ 81728 h 418083"/>
                  <a:gd name="connsiteX37" fmla="*/ 329950 w 533723"/>
                  <a:gd name="connsiteY37" fmla="*/ 82770 h 418083"/>
                  <a:gd name="connsiteX38" fmla="*/ 322786 w 533723"/>
                  <a:gd name="connsiteY38" fmla="*/ 67357 h 418083"/>
                  <a:gd name="connsiteX39" fmla="*/ 318179 w 533723"/>
                  <a:gd name="connsiteY39" fmla="*/ 66024 h 418083"/>
                  <a:gd name="connsiteX40" fmla="*/ 315145 w 533723"/>
                  <a:gd name="connsiteY40" fmla="*/ 65146 h 418083"/>
                  <a:gd name="connsiteX41" fmla="*/ 315984 w 533723"/>
                  <a:gd name="connsiteY41" fmla="*/ 64282 h 418083"/>
                  <a:gd name="connsiteX42" fmla="*/ 336115 w 533723"/>
                  <a:gd name="connsiteY42" fmla="*/ 45493 h 418083"/>
                  <a:gd name="connsiteX43" fmla="*/ 339135 w 533723"/>
                  <a:gd name="connsiteY43" fmla="*/ 43303 h 418083"/>
                  <a:gd name="connsiteX44" fmla="*/ 344556 w 533723"/>
                  <a:gd name="connsiteY44" fmla="*/ 40552 h 418083"/>
                  <a:gd name="connsiteX45" fmla="*/ 348957 w 533723"/>
                  <a:gd name="connsiteY45" fmla="*/ 38760 h 418083"/>
                  <a:gd name="connsiteX46" fmla="*/ 368054 w 533723"/>
                  <a:gd name="connsiteY46" fmla="*/ 34807 h 418083"/>
                  <a:gd name="connsiteX47" fmla="*/ 382234 w 533723"/>
                  <a:gd name="connsiteY47" fmla="*/ 37952 h 418083"/>
                  <a:gd name="connsiteX48" fmla="*/ 390275 w 533723"/>
                  <a:gd name="connsiteY48" fmla="*/ 35652 h 418083"/>
                  <a:gd name="connsiteX49" fmla="*/ 390840 w 533723"/>
                  <a:gd name="connsiteY49" fmla="*/ 35749 h 418083"/>
                  <a:gd name="connsiteX50" fmla="*/ 391575 w 533723"/>
                  <a:gd name="connsiteY50" fmla="*/ 35894 h 418083"/>
                  <a:gd name="connsiteX51" fmla="*/ 391750 w 533723"/>
                  <a:gd name="connsiteY51" fmla="*/ 35955 h 418083"/>
                  <a:gd name="connsiteX52" fmla="*/ 392615 w 533723"/>
                  <a:gd name="connsiteY52" fmla="*/ 36327 h 418083"/>
                  <a:gd name="connsiteX53" fmla="*/ 393242 w 533723"/>
                  <a:gd name="connsiteY53" fmla="*/ 36306 h 418083"/>
                  <a:gd name="connsiteX54" fmla="*/ 393406 w 533723"/>
                  <a:gd name="connsiteY54" fmla="*/ 36317 h 418083"/>
                  <a:gd name="connsiteX55" fmla="*/ 397383 w 533723"/>
                  <a:gd name="connsiteY55" fmla="*/ 37341 h 418083"/>
                  <a:gd name="connsiteX56" fmla="*/ 408367 w 533723"/>
                  <a:gd name="connsiteY56" fmla="*/ 43126 h 418083"/>
                  <a:gd name="connsiteX57" fmla="*/ 459773 w 533723"/>
                  <a:gd name="connsiteY57" fmla="*/ 126491 h 418083"/>
                  <a:gd name="connsiteX58" fmla="*/ 441680 w 533723"/>
                  <a:gd name="connsiteY58" fmla="*/ 188008 h 418083"/>
                  <a:gd name="connsiteX59" fmla="*/ 442553 w 533723"/>
                  <a:gd name="connsiteY59" fmla="*/ 192637 h 418083"/>
                  <a:gd name="connsiteX60" fmla="*/ 443081 w 533723"/>
                  <a:gd name="connsiteY60" fmla="*/ 194875 h 418083"/>
                  <a:gd name="connsiteX61" fmla="*/ 451172 w 533723"/>
                  <a:gd name="connsiteY61" fmla="*/ 201092 h 418083"/>
                  <a:gd name="connsiteX62" fmla="*/ 458953 w 533723"/>
                  <a:gd name="connsiteY62" fmla="*/ 214116 h 418083"/>
                  <a:gd name="connsiteX63" fmla="*/ 459209 w 533723"/>
                  <a:gd name="connsiteY63" fmla="*/ 216161 h 418083"/>
                  <a:gd name="connsiteX64" fmla="*/ 460971 w 533723"/>
                  <a:gd name="connsiteY64" fmla="*/ 219929 h 418083"/>
                  <a:gd name="connsiteX65" fmla="*/ 461361 w 533723"/>
                  <a:gd name="connsiteY65" fmla="*/ 220754 h 418083"/>
                  <a:gd name="connsiteX66" fmla="*/ 470303 w 533723"/>
                  <a:gd name="connsiteY66" fmla="*/ 246015 h 418083"/>
                  <a:gd name="connsiteX67" fmla="*/ 469962 w 533723"/>
                  <a:gd name="connsiteY67" fmla="*/ 245448 h 418083"/>
                  <a:gd name="connsiteX68" fmla="*/ 468971 w 533723"/>
                  <a:gd name="connsiteY68" fmla="*/ 243799 h 418083"/>
                  <a:gd name="connsiteX69" fmla="*/ 464115 w 533723"/>
                  <a:gd name="connsiteY69" fmla="*/ 240660 h 418083"/>
                  <a:gd name="connsiteX70" fmla="*/ 457544 w 533723"/>
                  <a:gd name="connsiteY70" fmla="*/ 239804 h 418083"/>
                  <a:gd name="connsiteX71" fmla="*/ 463829 w 533723"/>
                  <a:gd name="connsiteY71" fmla="*/ 242086 h 418083"/>
                  <a:gd name="connsiteX72" fmla="*/ 469895 w 533723"/>
                  <a:gd name="connsiteY72" fmla="*/ 245979 h 418083"/>
                  <a:gd name="connsiteX73" fmla="*/ 470460 w 533723"/>
                  <a:gd name="connsiteY73" fmla="*/ 246460 h 418083"/>
                  <a:gd name="connsiteX74" fmla="*/ 485321 w 533723"/>
                  <a:gd name="connsiteY74" fmla="*/ 288443 h 418083"/>
                  <a:gd name="connsiteX75" fmla="*/ 485666 w 533723"/>
                  <a:gd name="connsiteY75" fmla="*/ 289289 h 418083"/>
                  <a:gd name="connsiteX76" fmla="*/ 485392 w 533723"/>
                  <a:gd name="connsiteY76" fmla="*/ 285754 h 418083"/>
                  <a:gd name="connsiteX77" fmla="*/ 485409 w 533723"/>
                  <a:gd name="connsiteY77" fmla="*/ 284254 h 418083"/>
                  <a:gd name="connsiteX78" fmla="*/ 485552 w 533723"/>
                  <a:gd name="connsiteY78" fmla="*/ 284634 h 418083"/>
                  <a:gd name="connsiteX79" fmla="*/ 487684 w 533723"/>
                  <a:gd name="connsiteY79" fmla="*/ 290297 h 418083"/>
                  <a:gd name="connsiteX80" fmla="*/ 487716 w 533723"/>
                  <a:gd name="connsiteY80" fmla="*/ 290381 h 418083"/>
                  <a:gd name="connsiteX81" fmla="*/ 487709 w 533723"/>
                  <a:gd name="connsiteY81" fmla="*/ 290382 h 418083"/>
                  <a:gd name="connsiteX82" fmla="*/ 486150 w 533723"/>
                  <a:gd name="connsiteY82" fmla="*/ 290474 h 418083"/>
                  <a:gd name="connsiteX83" fmla="*/ 488742 w 533723"/>
                  <a:gd name="connsiteY83" fmla="*/ 296824 h 418083"/>
                  <a:gd name="connsiteX84" fmla="*/ 494320 w 533723"/>
                  <a:gd name="connsiteY84" fmla="*/ 295556 h 418083"/>
                  <a:gd name="connsiteX85" fmla="*/ 512429 w 533723"/>
                  <a:gd name="connsiteY85" fmla="*/ 291820 h 418083"/>
                  <a:gd name="connsiteX86" fmla="*/ 519005 w 533723"/>
                  <a:gd name="connsiteY86" fmla="*/ 287509 h 418083"/>
                  <a:gd name="connsiteX87" fmla="*/ 520508 w 533723"/>
                  <a:gd name="connsiteY87" fmla="*/ 286839 h 418083"/>
                  <a:gd name="connsiteX88" fmla="*/ 522424 w 533723"/>
                  <a:gd name="connsiteY88" fmla="*/ 286502 h 418083"/>
                  <a:gd name="connsiteX89" fmla="*/ 523091 w 533723"/>
                  <a:gd name="connsiteY89" fmla="*/ 286385 h 418083"/>
                  <a:gd name="connsiteX90" fmla="*/ 525364 w 533723"/>
                  <a:gd name="connsiteY90" fmla="*/ 286646 h 418083"/>
                  <a:gd name="connsiteX91" fmla="*/ 533413 w 533723"/>
                  <a:gd name="connsiteY91" fmla="*/ 297855 h 418083"/>
                  <a:gd name="connsiteX92" fmla="*/ 530826 w 533723"/>
                  <a:gd name="connsiteY92" fmla="*/ 316249 h 418083"/>
                  <a:gd name="connsiteX93" fmla="*/ 530588 w 533723"/>
                  <a:gd name="connsiteY93" fmla="*/ 318085 h 418083"/>
                  <a:gd name="connsiteX94" fmla="*/ 530192 w 533723"/>
                  <a:gd name="connsiteY94" fmla="*/ 320320 h 418083"/>
                  <a:gd name="connsiteX95" fmla="*/ 529838 w 533723"/>
                  <a:gd name="connsiteY95" fmla="*/ 321637 h 418083"/>
                  <a:gd name="connsiteX96" fmla="*/ 526883 w 533723"/>
                  <a:gd name="connsiteY96" fmla="*/ 332653 h 418083"/>
                  <a:gd name="connsiteX97" fmla="*/ 524435 w 533723"/>
                  <a:gd name="connsiteY97" fmla="*/ 341781 h 418083"/>
                  <a:gd name="connsiteX98" fmla="*/ 519934 w 533723"/>
                  <a:gd name="connsiteY98" fmla="*/ 353045 h 418083"/>
                  <a:gd name="connsiteX99" fmla="*/ 493458 w 533723"/>
                  <a:gd name="connsiteY99" fmla="*/ 392987 h 418083"/>
                  <a:gd name="connsiteX100" fmla="*/ 421143 w 533723"/>
                  <a:gd name="connsiteY100" fmla="*/ 403455 h 418083"/>
                  <a:gd name="connsiteX101" fmla="*/ 416615 w 533723"/>
                  <a:gd name="connsiteY101" fmla="*/ 401105 h 418083"/>
                  <a:gd name="connsiteX102" fmla="*/ 415306 w 533723"/>
                  <a:gd name="connsiteY102" fmla="*/ 404311 h 418083"/>
                  <a:gd name="connsiteX103" fmla="*/ 382546 w 533723"/>
                  <a:gd name="connsiteY103" fmla="*/ 418083 h 418083"/>
                  <a:gd name="connsiteX104" fmla="*/ 364512 w 533723"/>
                  <a:gd name="connsiteY104" fmla="*/ 414388 h 418083"/>
                  <a:gd name="connsiteX105" fmla="*/ 362260 w 533723"/>
                  <a:gd name="connsiteY105" fmla="*/ 412847 h 418083"/>
                  <a:gd name="connsiteX106" fmla="*/ 359508 w 533723"/>
                  <a:gd name="connsiteY106" fmla="*/ 412530 h 418083"/>
                  <a:gd name="connsiteX107" fmla="*/ 354180 w 533723"/>
                  <a:gd name="connsiteY107" fmla="*/ 409493 h 418083"/>
                  <a:gd name="connsiteX108" fmla="*/ 351263 w 533723"/>
                  <a:gd name="connsiteY108" fmla="*/ 406931 h 418083"/>
                  <a:gd name="connsiteX109" fmla="*/ 351015 w 533723"/>
                  <a:gd name="connsiteY109" fmla="*/ 406713 h 418083"/>
                  <a:gd name="connsiteX110" fmla="*/ 348397 w 533723"/>
                  <a:gd name="connsiteY110" fmla="*/ 403432 h 418083"/>
                  <a:gd name="connsiteX111" fmla="*/ 347445 w 533723"/>
                  <a:gd name="connsiteY111" fmla="*/ 401927 h 418083"/>
                  <a:gd name="connsiteX112" fmla="*/ 345319 w 533723"/>
                  <a:gd name="connsiteY112" fmla="*/ 397536 h 418083"/>
                  <a:gd name="connsiteX113" fmla="*/ 344561 w 533723"/>
                  <a:gd name="connsiteY113" fmla="*/ 395286 h 418083"/>
                  <a:gd name="connsiteX114" fmla="*/ 335650 w 533723"/>
                  <a:gd name="connsiteY114" fmla="*/ 375455 h 418083"/>
                  <a:gd name="connsiteX115" fmla="*/ 322714 w 533723"/>
                  <a:gd name="connsiteY115" fmla="*/ 362234 h 418083"/>
                  <a:gd name="connsiteX116" fmla="*/ 319648 w 533723"/>
                  <a:gd name="connsiteY116" fmla="*/ 358159 h 418083"/>
                  <a:gd name="connsiteX117" fmla="*/ 319434 w 533723"/>
                  <a:gd name="connsiteY117" fmla="*/ 357823 h 418083"/>
                  <a:gd name="connsiteX118" fmla="*/ 314734 w 533723"/>
                  <a:gd name="connsiteY118" fmla="*/ 350455 h 418083"/>
                  <a:gd name="connsiteX119" fmla="*/ 319052 w 533723"/>
                  <a:gd name="connsiteY119" fmla="*/ 316733 h 418083"/>
                  <a:gd name="connsiteX120" fmla="*/ 323333 w 533723"/>
                  <a:gd name="connsiteY120" fmla="*/ 310656 h 418083"/>
                  <a:gd name="connsiteX121" fmla="*/ 320679 w 533723"/>
                  <a:gd name="connsiteY121" fmla="*/ 310837 h 418083"/>
                  <a:gd name="connsiteX122" fmla="*/ 316984 w 533723"/>
                  <a:gd name="connsiteY122" fmla="*/ 309959 h 418083"/>
                  <a:gd name="connsiteX123" fmla="*/ 278469 w 533723"/>
                  <a:gd name="connsiteY123" fmla="*/ 281787 h 418083"/>
                  <a:gd name="connsiteX124" fmla="*/ 279196 w 533723"/>
                  <a:gd name="connsiteY124" fmla="*/ 221148 h 418083"/>
                  <a:gd name="connsiteX125" fmla="*/ 281137 w 533723"/>
                  <a:gd name="connsiteY125" fmla="*/ 212759 h 418083"/>
                  <a:gd name="connsiteX126" fmla="*/ 280817 w 533723"/>
                  <a:gd name="connsiteY126" fmla="*/ 212855 h 418083"/>
                  <a:gd name="connsiteX127" fmla="*/ 280074 w 533723"/>
                  <a:gd name="connsiteY127" fmla="*/ 213019 h 418083"/>
                  <a:gd name="connsiteX128" fmla="*/ 208386 w 533723"/>
                  <a:gd name="connsiteY128" fmla="*/ 230868 h 418083"/>
                  <a:gd name="connsiteX129" fmla="*/ 129358 w 533723"/>
                  <a:gd name="connsiteY129" fmla="*/ 256155 h 418083"/>
                  <a:gd name="connsiteX130" fmla="*/ 76481 w 533723"/>
                  <a:gd name="connsiteY130" fmla="*/ 253856 h 418083"/>
                  <a:gd name="connsiteX131" fmla="*/ 56365 w 533723"/>
                  <a:gd name="connsiteY131" fmla="*/ 204718 h 418083"/>
                  <a:gd name="connsiteX132" fmla="*/ 6361 w 533723"/>
                  <a:gd name="connsiteY132" fmla="*/ 145234 h 418083"/>
                  <a:gd name="connsiteX133" fmla="*/ 4924 w 533723"/>
                  <a:gd name="connsiteY133" fmla="*/ 90923 h 418083"/>
                  <a:gd name="connsiteX134" fmla="*/ 26190 w 533723"/>
                  <a:gd name="connsiteY134" fmla="*/ 62762 h 418083"/>
                  <a:gd name="connsiteX135" fmla="*/ 51192 w 533723"/>
                  <a:gd name="connsiteY135" fmla="*/ 63624 h 418083"/>
                  <a:gd name="connsiteX136" fmla="*/ 92574 w 533723"/>
                  <a:gd name="connsiteY136" fmla="*/ 72245 h 418083"/>
                  <a:gd name="connsiteX137" fmla="*/ 148899 w 533723"/>
                  <a:gd name="connsiteY137" fmla="*/ 97533 h 418083"/>
                  <a:gd name="connsiteX138" fmla="*/ 100620 w 533723"/>
                  <a:gd name="connsiteY138" fmla="*/ 70233 h 418083"/>
                  <a:gd name="connsiteX139" fmla="*/ 68722 w 533723"/>
                  <a:gd name="connsiteY139" fmla="*/ 57877 h 418083"/>
                  <a:gd name="connsiteX140" fmla="*/ 95735 w 533723"/>
                  <a:gd name="connsiteY140" fmla="*/ 33739 h 418083"/>
                  <a:gd name="connsiteX141" fmla="*/ 118438 w 533723"/>
                  <a:gd name="connsiteY141" fmla="*/ 6440 h 418083"/>
                  <a:gd name="connsiteX142" fmla="*/ 135290 w 533723"/>
                  <a:gd name="connsiteY142" fmla="*/ 95 h 418083"/>
                  <a:gd name="connsiteX0" fmla="*/ 528506 w 533723"/>
                  <a:gd name="connsiteY0" fmla="*/ 291832 h 419386"/>
                  <a:gd name="connsiteX1" fmla="*/ 510121 w 533723"/>
                  <a:gd name="connsiteY1" fmla="*/ 300446 h 419386"/>
                  <a:gd name="connsiteX2" fmla="*/ 500354 w 533723"/>
                  <a:gd name="connsiteY2" fmla="*/ 302312 h 419386"/>
                  <a:gd name="connsiteX3" fmla="*/ 489695 w 533723"/>
                  <a:gd name="connsiteY3" fmla="*/ 299159 h 419386"/>
                  <a:gd name="connsiteX4" fmla="*/ 490953 w 533723"/>
                  <a:gd name="connsiteY4" fmla="*/ 302242 h 419386"/>
                  <a:gd name="connsiteX5" fmla="*/ 490826 w 533723"/>
                  <a:gd name="connsiteY5" fmla="*/ 302554 h 419386"/>
                  <a:gd name="connsiteX6" fmla="*/ 497481 w 533723"/>
                  <a:gd name="connsiteY6" fmla="*/ 306188 h 419386"/>
                  <a:gd name="connsiteX7" fmla="*/ 505812 w 533723"/>
                  <a:gd name="connsiteY7" fmla="*/ 305901 h 419386"/>
                  <a:gd name="connsiteX8" fmla="*/ 523335 w 533723"/>
                  <a:gd name="connsiteY8" fmla="*/ 297575 h 419386"/>
                  <a:gd name="connsiteX9" fmla="*/ 528506 w 533723"/>
                  <a:gd name="connsiteY9" fmla="*/ 291832 h 419386"/>
                  <a:gd name="connsiteX10" fmla="*/ 459095 w 533723"/>
                  <a:gd name="connsiteY10" fmla="*/ 214354 h 419386"/>
                  <a:gd name="connsiteX11" fmla="*/ 470185 w 533723"/>
                  <a:gd name="connsiteY11" fmla="*/ 232917 h 419386"/>
                  <a:gd name="connsiteX12" fmla="*/ 469083 w 533723"/>
                  <a:gd name="connsiteY12" fmla="*/ 236710 h 419386"/>
                  <a:gd name="connsiteX13" fmla="*/ 465107 w 533723"/>
                  <a:gd name="connsiteY13" fmla="*/ 228628 h 419386"/>
                  <a:gd name="connsiteX14" fmla="*/ 462850 w 533723"/>
                  <a:gd name="connsiteY14" fmla="*/ 223907 h 419386"/>
                  <a:gd name="connsiteX15" fmla="*/ 461361 w 533723"/>
                  <a:gd name="connsiteY15" fmla="*/ 220754 h 419386"/>
                  <a:gd name="connsiteX16" fmla="*/ 459095 w 533723"/>
                  <a:gd name="connsiteY16" fmla="*/ 214354 h 419386"/>
                  <a:gd name="connsiteX17" fmla="*/ 458921 w 533723"/>
                  <a:gd name="connsiteY17" fmla="*/ 213862 h 419386"/>
                  <a:gd name="connsiteX18" fmla="*/ 459095 w 533723"/>
                  <a:gd name="connsiteY18" fmla="*/ 214354 h 419386"/>
                  <a:gd name="connsiteX19" fmla="*/ 458953 w 533723"/>
                  <a:gd name="connsiteY19" fmla="*/ 214116 h 419386"/>
                  <a:gd name="connsiteX20" fmla="*/ 458921 w 533723"/>
                  <a:gd name="connsiteY20" fmla="*/ 213862 h 419386"/>
                  <a:gd name="connsiteX21" fmla="*/ 231642 w 533723"/>
                  <a:gd name="connsiteY21" fmla="*/ 117869 h 419386"/>
                  <a:gd name="connsiteX22" fmla="*/ 245739 w 533723"/>
                  <a:gd name="connsiteY22" fmla="*/ 119960 h 419386"/>
                  <a:gd name="connsiteX23" fmla="*/ 247479 w 533723"/>
                  <a:gd name="connsiteY23" fmla="*/ 117948 h 419386"/>
                  <a:gd name="connsiteX24" fmla="*/ 241439 w 533723"/>
                  <a:gd name="connsiteY24" fmla="*/ 117896 h 419386"/>
                  <a:gd name="connsiteX25" fmla="*/ 231642 w 533723"/>
                  <a:gd name="connsiteY25" fmla="*/ 117869 h 419386"/>
                  <a:gd name="connsiteX26" fmla="*/ 393966 w 533723"/>
                  <a:gd name="connsiteY26" fmla="*/ 59548 h 419386"/>
                  <a:gd name="connsiteX27" fmla="*/ 394760 w 533723"/>
                  <a:gd name="connsiteY27" fmla="*/ 61641 h 419386"/>
                  <a:gd name="connsiteX28" fmla="*/ 396543 w 533723"/>
                  <a:gd name="connsiteY28" fmla="*/ 61922 h 419386"/>
                  <a:gd name="connsiteX29" fmla="*/ 393966 w 533723"/>
                  <a:gd name="connsiteY29" fmla="*/ 59548 h 419386"/>
                  <a:gd name="connsiteX30" fmla="*/ 135290 w 533723"/>
                  <a:gd name="connsiteY30" fmla="*/ 95 h 419386"/>
                  <a:gd name="connsiteX31" fmla="*/ 142002 w 533723"/>
                  <a:gd name="connsiteY31" fmla="*/ 118 h 419386"/>
                  <a:gd name="connsiteX32" fmla="*/ 184247 w 533723"/>
                  <a:gd name="connsiteY32" fmla="*/ 9888 h 419386"/>
                  <a:gd name="connsiteX33" fmla="*/ 237411 w 533723"/>
                  <a:gd name="connsiteY33" fmla="*/ 31727 h 419386"/>
                  <a:gd name="connsiteX34" fmla="*/ 273908 w 533723"/>
                  <a:gd name="connsiteY34" fmla="*/ 50693 h 419386"/>
                  <a:gd name="connsiteX35" fmla="*/ 300993 w 533723"/>
                  <a:gd name="connsiteY35" fmla="*/ 65241 h 419386"/>
                  <a:gd name="connsiteX36" fmla="*/ 313770 w 533723"/>
                  <a:gd name="connsiteY36" fmla="*/ 72415 h 419386"/>
                  <a:gd name="connsiteX37" fmla="*/ 317458 w 533723"/>
                  <a:gd name="connsiteY37" fmla="*/ 74704 h 419386"/>
                  <a:gd name="connsiteX38" fmla="*/ 321989 w 533723"/>
                  <a:gd name="connsiteY38" fmla="*/ 77518 h 419386"/>
                  <a:gd name="connsiteX39" fmla="*/ 328509 w 533723"/>
                  <a:gd name="connsiteY39" fmla="*/ 81728 h 419386"/>
                  <a:gd name="connsiteX40" fmla="*/ 329950 w 533723"/>
                  <a:gd name="connsiteY40" fmla="*/ 82770 h 419386"/>
                  <a:gd name="connsiteX41" fmla="*/ 322786 w 533723"/>
                  <a:gd name="connsiteY41" fmla="*/ 67357 h 419386"/>
                  <a:gd name="connsiteX42" fmla="*/ 318179 w 533723"/>
                  <a:gd name="connsiteY42" fmla="*/ 66024 h 419386"/>
                  <a:gd name="connsiteX43" fmla="*/ 315145 w 533723"/>
                  <a:gd name="connsiteY43" fmla="*/ 65146 h 419386"/>
                  <a:gd name="connsiteX44" fmla="*/ 315984 w 533723"/>
                  <a:gd name="connsiteY44" fmla="*/ 64282 h 419386"/>
                  <a:gd name="connsiteX45" fmla="*/ 336115 w 533723"/>
                  <a:gd name="connsiteY45" fmla="*/ 45493 h 419386"/>
                  <a:gd name="connsiteX46" fmla="*/ 339135 w 533723"/>
                  <a:gd name="connsiteY46" fmla="*/ 43303 h 419386"/>
                  <a:gd name="connsiteX47" fmla="*/ 344556 w 533723"/>
                  <a:gd name="connsiteY47" fmla="*/ 40552 h 419386"/>
                  <a:gd name="connsiteX48" fmla="*/ 348957 w 533723"/>
                  <a:gd name="connsiteY48" fmla="*/ 38760 h 419386"/>
                  <a:gd name="connsiteX49" fmla="*/ 368054 w 533723"/>
                  <a:gd name="connsiteY49" fmla="*/ 34807 h 419386"/>
                  <a:gd name="connsiteX50" fmla="*/ 382234 w 533723"/>
                  <a:gd name="connsiteY50" fmla="*/ 37952 h 419386"/>
                  <a:gd name="connsiteX51" fmla="*/ 390275 w 533723"/>
                  <a:gd name="connsiteY51" fmla="*/ 35652 h 419386"/>
                  <a:gd name="connsiteX52" fmla="*/ 390840 w 533723"/>
                  <a:gd name="connsiteY52" fmla="*/ 35749 h 419386"/>
                  <a:gd name="connsiteX53" fmla="*/ 391575 w 533723"/>
                  <a:gd name="connsiteY53" fmla="*/ 35894 h 419386"/>
                  <a:gd name="connsiteX54" fmla="*/ 391750 w 533723"/>
                  <a:gd name="connsiteY54" fmla="*/ 35955 h 419386"/>
                  <a:gd name="connsiteX55" fmla="*/ 392615 w 533723"/>
                  <a:gd name="connsiteY55" fmla="*/ 36327 h 419386"/>
                  <a:gd name="connsiteX56" fmla="*/ 393242 w 533723"/>
                  <a:gd name="connsiteY56" fmla="*/ 36306 h 419386"/>
                  <a:gd name="connsiteX57" fmla="*/ 393406 w 533723"/>
                  <a:gd name="connsiteY57" fmla="*/ 36317 h 419386"/>
                  <a:gd name="connsiteX58" fmla="*/ 397383 w 533723"/>
                  <a:gd name="connsiteY58" fmla="*/ 37341 h 419386"/>
                  <a:gd name="connsiteX59" fmla="*/ 408367 w 533723"/>
                  <a:gd name="connsiteY59" fmla="*/ 43126 h 419386"/>
                  <a:gd name="connsiteX60" fmla="*/ 459773 w 533723"/>
                  <a:gd name="connsiteY60" fmla="*/ 126491 h 419386"/>
                  <a:gd name="connsiteX61" fmla="*/ 441680 w 533723"/>
                  <a:gd name="connsiteY61" fmla="*/ 188008 h 419386"/>
                  <a:gd name="connsiteX62" fmla="*/ 442553 w 533723"/>
                  <a:gd name="connsiteY62" fmla="*/ 192637 h 419386"/>
                  <a:gd name="connsiteX63" fmla="*/ 443081 w 533723"/>
                  <a:gd name="connsiteY63" fmla="*/ 194875 h 419386"/>
                  <a:gd name="connsiteX64" fmla="*/ 451172 w 533723"/>
                  <a:gd name="connsiteY64" fmla="*/ 201092 h 419386"/>
                  <a:gd name="connsiteX65" fmla="*/ 458953 w 533723"/>
                  <a:gd name="connsiteY65" fmla="*/ 214116 h 419386"/>
                  <a:gd name="connsiteX66" fmla="*/ 459209 w 533723"/>
                  <a:gd name="connsiteY66" fmla="*/ 216161 h 419386"/>
                  <a:gd name="connsiteX67" fmla="*/ 460971 w 533723"/>
                  <a:gd name="connsiteY67" fmla="*/ 219929 h 419386"/>
                  <a:gd name="connsiteX68" fmla="*/ 461361 w 533723"/>
                  <a:gd name="connsiteY68" fmla="*/ 220754 h 419386"/>
                  <a:gd name="connsiteX69" fmla="*/ 470303 w 533723"/>
                  <a:gd name="connsiteY69" fmla="*/ 246015 h 419386"/>
                  <a:gd name="connsiteX70" fmla="*/ 469962 w 533723"/>
                  <a:gd name="connsiteY70" fmla="*/ 245448 h 419386"/>
                  <a:gd name="connsiteX71" fmla="*/ 468971 w 533723"/>
                  <a:gd name="connsiteY71" fmla="*/ 243799 h 419386"/>
                  <a:gd name="connsiteX72" fmla="*/ 464115 w 533723"/>
                  <a:gd name="connsiteY72" fmla="*/ 240660 h 419386"/>
                  <a:gd name="connsiteX73" fmla="*/ 457544 w 533723"/>
                  <a:gd name="connsiteY73" fmla="*/ 239804 h 419386"/>
                  <a:gd name="connsiteX74" fmla="*/ 463829 w 533723"/>
                  <a:gd name="connsiteY74" fmla="*/ 242086 h 419386"/>
                  <a:gd name="connsiteX75" fmla="*/ 469895 w 533723"/>
                  <a:gd name="connsiteY75" fmla="*/ 245979 h 419386"/>
                  <a:gd name="connsiteX76" fmla="*/ 470460 w 533723"/>
                  <a:gd name="connsiteY76" fmla="*/ 246460 h 419386"/>
                  <a:gd name="connsiteX77" fmla="*/ 485321 w 533723"/>
                  <a:gd name="connsiteY77" fmla="*/ 288443 h 419386"/>
                  <a:gd name="connsiteX78" fmla="*/ 485666 w 533723"/>
                  <a:gd name="connsiteY78" fmla="*/ 289289 h 419386"/>
                  <a:gd name="connsiteX79" fmla="*/ 485392 w 533723"/>
                  <a:gd name="connsiteY79" fmla="*/ 285754 h 419386"/>
                  <a:gd name="connsiteX80" fmla="*/ 485409 w 533723"/>
                  <a:gd name="connsiteY80" fmla="*/ 284254 h 419386"/>
                  <a:gd name="connsiteX81" fmla="*/ 485552 w 533723"/>
                  <a:gd name="connsiteY81" fmla="*/ 284634 h 419386"/>
                  <a:gd name="connsiteX82" fmla="*/ 487684 w 533723"/>
                  <a:gd name="connsiteY82" fmla="*/ 290297 h 419386"/>
                  <a:gd name="connsiteX83" fmla="*/ 487716 w 533723"/>
                  <a:gd name="connsiteY83" fmla="*/ 290381 h 419386"/>
                  <a:gd name="connsiteX84" fmla="*/ 487709 w 533723"/>
                  <a:gd name="connsiteY84" fmla="*/ 290382 h 419386"/>
                  <a:gd name="connsiteX85" fmla="*/ 486150 w 533723"/>
                  <a:gd name="connsiteY85" fmla="*/ 290474 h 419386"/>
                  <a:gd name="connsiteX86" fmla="*/ 488742 w 533723"/>
                  <a:gd name="connsiteY86" fmla="*/ 296824 h 419386"/>
                  <a:gd name="connsiteX87" fmla="*/ 494320 w 533723"/>
                  <a:gd name="connsiteY87" fmla="*/ 295556 h 419386"/>
                  <a:gd name="connsiteX88" fmla="*/ 512429 w 533723"/>
                  <a:gd name="connsiteY88" fmla="*/ 291820 h 419386"/>
                  <a:gd name="connsiteX89" fmla="*/ 519005 w 533723"/>
                  <a:gd name="connsiteY89" fmla="*/ 287509 h 419386"/>
                  <a:gd name="connsiteX90" fmla="*/ 520508 w 533723"/>
                  <a:gd name="connsiteY90" fmla="*/ 286839 h 419386"/>
                  <a:gd name="connsiteX91" fmla="*/ 522424 w 533723"/>
                  <a:gd name="connsiteY91" fmla="*/ 286502 h 419386"/>
                  <a:gd name="connsiteX92" fmla="*/ 523091 w 533723"/>
                  <a:gd name="connsiteY92" fmla="*/ 286385 h 419386"/>
                  <a:gd name="connsiteX93" fmla="*/ 525364 w 533723"/>
                  <a:gd name="connsiteY93" fmla="*/ 286646 h 419386"/>
                  <a:gd name="connsiteX94" fmla="*/ 533413 w 533723"/>
                  <a:gd name="connsiteY94" fmla="*/ 297855 h 419386"/>
                  <a:gd name="connsiteX95" fmla="*/ 530826 w 533723"/>
                  <a:gd name="connsiteY95" fmla="*/ 316249 h 419386"/>
                  <a:gd name="connsiteX96" fmla="*/ 530588 w 533723"/>
                  <a:gd name="connsiteY96" fmla="*/ 318085 h 419386"/>
                  <a:gd name="connsiteX97" fmla="*/ 530192 w 533723"/>
                  <a:gd name="connsiteY97" fmla="*/ 320320 h 419386"/>
                  <a:gd name="connsiteX98" fmla="*/ 529838 w 533723"/>
                  <a:gd name="connsiteY98" fmla="*/ 321637 h 419386"/>
                  <a:gd name="connsiteX99" fmla="*/ 526883 w 533723"/>
                  <a:gd name="connsiteY99" fmla="*/ 332653 h 419386"/>
                  <a:gd name="connsiteX100" fmla="*/ 524435 w 533723"/>
                  <a:gd name="connsiteY100" fmla="*/ 341781 h 419386"/>
                  <a:gd name="connsiteX101" fmla="*/ 519934 w 533723"/>
                  <a:gd name="connsiteY101" fmla="*/ 353045 h 419386"/>
                  <a:gd name="connsiteX102" fmla="*/ 493458 w 533723"/>
                  <a:gd name="connsiteY102" fmla="*/ 392987 h 419386"/>
                  <a:gd name="connsiteX103" fmla="*/ 421143 w 533723"/>
                  <a:gd name="connsiteY103" fmla="*/ 403455 h 419386"/>
                  <a:gd name="connsiteX104" fmla="*/ 416615 w 533723"/>
                  <a:gd name="connsiteY104" fmla="*/ 401105 h 419386"/>
                  <a:gd name="connsiteX105" fmla="*/ 401019 w 533723"/>
                  <a:gd name="connsiteY105" fmla="*/ 392405 h 419386"/>
                  <a:gd name="connsiteX106" fmla="*/ 382546 w 533723"/>
                  <a:gd name="connsiteY106" fmla="*/ 418083 h 419386"/>
                  <a:gd name="connsiteX107" fmla="*/ 364512 w 533723"/>
                  <a:gd name="connsiteY107" fmla="*/ 414388 h 419386"/>
                  <a:gd name="connsiteX108" fmla="*/ 362260 w 533723"/>
                  <a:gd name="connsiteY108" fmla="*/ 412847 h 419386"/>
                  <a:gd name="connsiteX109" fmla="*/ 359508 w 533723"/>
                  <a:gd name="connsiteY109" fmla="*/ 412530 h 419386"/>
                  <a:gd name="connsiteX110" fmla="*/ 354180 w 533723"/>
                  <a:gd name="connsiteY110" fmla="*/ 409493 h 419386"/>
                  <a:gd name="connsiteX111" fmla="*/ 351263 w 533723"/>
                  <a:gd name="connsiteY111" fmla="*/ 406931 h 419386"/>
                  <a:gd name="connsiteX112" fmla="*/ 351015 w 533723"/>
                  <a:gd name="connsiteY112" fmla="*/ 406713 h 419386"/>
                  <a:gd name="connsiteX113" fmla="*/ 348397 w 533723"/>
                  <a:gd name="connsiteY113" fmla="*/ 403432 h 419386"/>
                  <a:gd name="connsiteX114" fmla="*/ 347445 w 533723"/>
                  <a:gd name="connsiteY114" fmla="*/ 401927 h 419386"/>
                  <a:gd name="connsiteX115" fmla="*/ 345319 w 533723"/>
                  <a:gd name="connsiteY115" fmla="*/ 397536 h 419386"/>
                  <a:gd name="connsiteX116" fmla="*/ 344561 w 533723"/>
                  <a:gd name="connsiteY116" fmla="*/ 395286 h 419386"/>
                  <a:gd name="connsiteX117" fmla="*/ 335650 w 533723"/>
                  <a:gd name="connsiteY117" fmla="*/ 375455 h 419386"/>
                  <a:gd name="connsiteX118" fmla="*/ 322714 w 533723"/>
                  <a:gd name="connsiteY118" fmla="*/ 362234 h 419386"/>
                  <a:gd name="connsiteX119" fmla="*/ 319648 w 533723"/>
                  <a:gd name="connsiteY119" fmla="*/ 358159 h 419386"/>
                  <a:gd name="connsiteX120" fmla="*/ 319434 w 533723"/>
                  <a:gd name="connsiteY120" fmla="*/ 357823 h 419386"/>
                  <a:gd name="connsiteX121" fmla="*/ 314734 w 533723"/>
                  <a:gd name="connsiteY121" fmla="*/ 350455 h 419386"/>
                  <a:gd name="connsiteX122" fmla="*/ 319052 w 533723"/>
                  <a:gd name="connsiteY122" fmla="*/ 316733 h 419386"/>
                  <a:gd name="connsiteX123" fmla="*/ 323333 w 533723"/>
                  <a:gd name="connsiteY123" fmla="*/ 310656 h 419386"/>
                  <a:gd name="connsiteX124" fmla="*/ 320679 w 533723"/>
                  <a:gd name="connsiteY124" fmla="*/ 310837 h 419386"/>
                  <a:gd name="connsiteX125" fmla="*/ 316984 w 533723"/>
                  <a:gd name="connsiteY125" fmla="*/ 309959 h 419386"/>
                  <a:gd name="connsiteX126" fmla="*/ 278469 w 533723"/>
                  <a:gd name="connsiteY126" fmla="*/ 281787 h 419386"/>
                  <a:gd name="connsiteX127" fmla="*/ 279196 w 533723"/>
                  <a:gd name="connsiteY127" fmla="*/ 221148 h 419386"/>
                  <a:gd name="connsiteX128" fmla="*/ 281137 w 533723"/>
                  <a:gd name="connsiteY128" fmla="*/ 212759 h 419386"/>
                  <a:gd name="connsiteX129" fmla="*/ 280817 w 533723"/>
                  <a:gd name="connsiteY129" fmla="*/ 212855 h 419386"/>
                  <a:gd name="connsiteX130" fmla="*/ 280074 w 533723"/>
                  <a:gd name="connsiteY130" fmla="*/ 213019 h 419386"/>
                  <a:gd name="connsiteX131" fmla="*/ 208386 w 533723"/>
                  <a:gd name="connsiteY131" fmla="*/ 230868 h 419386"/>
                  <a:gd name="connsiteX132" fmla="*/ 129358 w 533723"/>
                  <a:gd name="connsiteY132" fmla="*/ 256155 h 419386"/>
                  <a:gd name="connsiteX133" fmla="*/ 76481 w 533723"/>
                  <a:gd name="connsiteY133" fmla="*/ 253856 h 419386"/>
                  <a:gd name="connsiteX134" fmla="*/ 56365 w 533723"/>
                  <a:gd name="connsiteY134" fmla="*/ 204718 h 419386"/>
                  <a:gd name="connsiteX135" fmla="*/ 6361 w 533723"/>
                  <a:gd name="connsiteY135" fmla="*/ 145234 h 419386"/>
                  <a:gd name="connsiteX136" fmla="*/ 4924 w 533723"/>
                  <a:gd name="connsiteY136" fmla="*/ 90923 h 419386"/>
                  <a:gd name="connsiteX137" fmla="*/ 26190 w 533723"/>
                  <a:gd name="connsiteY137" fmla="*/ 62762 h 419386"/>
                  <a:gd name="connsiteX138" fmla="*/ 51192 w 533723"/>
                  <a:gd name="connsiteY138" fmla="*/ 63624 h 419386"/>
                  <a:gd name="connsiteX139" fmla="*/ 92574 w 533723"/>
                  <a:gd name="connsiteY139" fmla="*/ 72245 h 419386"/>
                  <a:gd name="connsiteX140" fmla="*/ 148899 w 533723"/>
                  <a:gd name="connsiteY140" fmla="*/ 97533 h 419386"/>
                  <a:gd name="connsiteX141" fmla="*/ 100620 w 533723"/>
                  <a:gd name="connsiteY141" fmla="*/ 70233 h 419386"/>
                  <a:gd name="connsiteX142" fmla="*/ 68722 w 533723"/>
                  <a:gd name="connsiteY142" fmla="*/ 57877 h 419386"/>
                  <a:gd name="connsiteX143" fmla="*/ 95735 w 533723"/>
                  <a:gd name="connsiteY143" fmla="*/ 33739 h 419386"/>
                  <a:gd name="connsiteX144" fmla="*/ 118438 w 533723"/>
                  <a:gd name="connsiteY144" fmla="*/ 6440 h 419386"/>
                  <a:gd name="connsiteX145" fmla="*/ 135290 w 533723"/>
                  <a:gd name="connsiteY145" fmla="*/ 95 h 419386"/>
                  <a:gd name="connsiteX0" fmla="*/ 528506 w 533723"/>
                  <a:gd name="connsiteY0" fmla="*/ 291832 h 415347"/>
                  <a:gd name="connsiteX1" fmla="*/ 510121 w 533723"/>
                  <a:gd name="connsiteY1" fmla="*/ 300446 h 415347"/>
                  <a:gd name="connsiteX2" fmla="*/ 500354 w 533723"/>
                  <a:gd name="connsiteY2" fmla="*/ 302312 h 415347"/>
                  <a:gd name="connsiteX3" fmla="*/ 489695 w 533723"/>
                  <a:gd name="connsiteY3" fmla="*/ 299159 h 415347"/>
                  <a:gd name="connsiteX4" fmla="*/ 490953 w 533723"/>
                  <a:gd name="connsiteY4" fmla="*/ 302242 h 415347"/>
                  <a:gd name="connsiteX5" fmla="*/ 490826 w 533723"/>
                  <a:gd name="connsiteY5" fmla="*/ 302554 h 415347"/>
                  <a:gd name="connsiteX6" fmla="*/ 497481 w 533723"/>
                  <a:gd name="connsiteY6" fmla="*/ 306188 h 415347"/>
                  <a:gd name="connsiteX7" fmla="*/ 505812 w 533723"/>
                  <a:gd name="connsiteY7" fmla="*/ 305901 h 415347"/>
                  <a:gd name="connsiteX8" fmla="*/ 523335 w 533723"/>
                  <a:gd name="connsiteY8" fmla="*/ 297575 h 415347"/>
                  <a:gd name="connsiteX9" fmla="*/ 528506 w 533723"/>
                  <a:gd name="connsiteY9" fmla="*/ 291832 h 415347"/>
                  <a:gd name="connsiteX10" fmla="*/ 459095 w 533723"/>
                  <a:gd name="connsiteY10" fmla="*/ 214354 h 415347"/>
                  <a:gd name="connsiteX11" fmla="*/ 470185 w 533723"/>
                  <a:gd name="connsiteY11" fmla="*/ 232917 h 415347"/>
                  <a:gd name="connsiteX12" fmla="*/ 469083 w 533723"/>
                  <a:gd name="connsiteY12" fmla="*/ 236710 h 415347"/>
                  <a:gd name="connsiteX13" fmla="*/ 465107 w 533723"/>
                  <a:gd name="connsiteY13" fmla="*/ 228628 h 415347"/>
                  <a:gd name="connsiteX14" fmla="*/ 462850 w 533723"/>
                  <a:gd name="connsiteY14" fmla="*/ 223907 h 415347"/>
                  <a:gd name="connsiteX15" fmla="*/ 461361 w 533723"/>
                  <a:gd name="connsiteY15" fmla="*/ 220754 h 415347"/>
                  <a:gd name="connsiteX16" fmla="*/ 459095 w 533723"/>
                  <a:gd name="connsiteY16" fmla="*/ 214354 h 415347"/>
                  <a:gd name="connsiteX17" fmla="*/ 458921 w 533723"/>
                  <a:gd name="connsiteY17" fmla="*/ 213862 h 415347"/>
                  <a:gd name="connsiteX18" fmla="*/ 459095 w 533723"/>
                  <a:gd name="connsiteY18" fmla="*/ 214354 h 415347"/>
                  <a:gd name="connsiteX19" fmla="*/ 458953 w 533723"/>
                  <a:gd name="connsiteY19" fmla="*/ 214116 h 415347"/>
                  <a:gd name="connsiteX20" fmla="*/ 458921 w 533723"/>
                  <a:gd name="connsiteY20" fmla="*/ 213862 h 415347"/>
                  <a:gd name="connsiteX21" fmla="*/ 231642 w 533723"/>
                  <a:gd name="connsiteY21" fmla="*/ 117869 h 415347"/>
                  <a:gd name="connsiteX22" fmla="*/ 245739 w 533723"/>
                  <a:gd name="connsiteY22" fmla="*/ 119960 h 415347"/>
                  <a:gd name="connsiteX23" fmla="*/ 247479 w 533723"/>
                  <a:gd name="connsiteY23" fmla="*/ 117948 h 415347"/>
                  <a:gd name="connsiteX24" fmla="*/ 241439 w 533723"/>
                  <a:gd name="connsiteY24" fmla="*/ 117896 h 415347"/>
                  <a:gd name="connsiteX25" fmla="*/ 231642 w 533723"/>
                  <a:gd name="connsiteY25" fmla="*/ 117869 h 415347"/>
                  <a:gd name="connsiteX26" fmla="*/ 393966 w 533723"/>
                  <a:gd name="connsiteY26" fmla="*/ 59548 h 415347"/>
                  <a:gd name="connsiteX27" fmla="*/ 394760 w 533723"/>
                  <a:gd name="connsiteY27" fmla="*/ 61641 h 415347"/>
                  <a:gd name="connsiteX28" fmla="*/ 396543 w 533723"/>
                  <a:gd name="connsiteY28" fmla="*/ 61922 h 415347"/>
                  <a:gd name="connsiteX29" fmla="*/ 393966 w 533723"/>
                  <a:gd name="connsiteY29" fmla="*/ 59548 h 415347"/>
                  <a:gd name="connsiteX30" fmla="*/ 135290 w 533723"/>
                  <a:gd name="connsiteY30" fmla="*/ 95 h 415347"/>
                  <a:gd name="connsiteX31" fmla="*/ 142002 w 533723"/>
                  <a:gd name="connsiteY31" fmla="*/ 118 h 415347"/>
                  <a:gd name="connsiteX32" fmla="*/ 184247 w 533723"/>
                  <a:gd name="connsiteY32" fmla="*/ 9888 h 415347"/>
                  <a:gd name="connsiteX33" fmla="*/ 237411 w 533723"/>
                  <a:gd name="connsiteY33" fmla="*/ 31727 h 415347"/>
                  <a:gd name="connsiteX34" fmla="*/ 273908 w 533723"/>
                  <a:gd name="connsiteY34" fmla="*/ 50693 h 415347"/>
                  <a:gd name="connsiteX35" fmla="*/ 300993 w 533723"/>
                  <a:gd name="connsiteY35" fmla="*/ 65241 h 415347"/>
                  <a:gd name="connsiteX36" fmla="*/ 313770 w 533723"/>
                  <a:gd name="connsiteY36" fmla="*/ 72415 h 415347"/>
                  <a:gd name="connsiteX37" fmla="*/ 317458 w 533723"/>
                  <a:gd name="connsiteY37" fmla="*/ 74704 h 415347"/>
                  <a:gd name="connsiteX38" fmla="*/ 321989 w 533723"/>
                  <a:gd name="connsiteY38" fmla="*/ 77518 h 415347"/>
                  <a:gd name="connsiteX39" fmla="*/ 328509 w 533723"/>
                  <a:gd name="connsiteY39" fmla="*/ 81728 h 415347"/>
                  <a:gd name="connsiteX40" fmla="*/ 329950 w 533723"/>
                  <a:gd name="connsiteY40" fmla="*/ 82770 h 415347"/>
                  <a:gd name="connsiteX41" fmla="*/ 322786 w 533723"/>
                  <a:gd name="connsiteY41" fmla="*/ 67357 h 415347"/>
                  <a:gd name="connsiteX42" fmla="*/ 318179 w 533723"/>
                  <a:gd name="connsiteY42" fmla="*/ 66024 h 415347"/>
                  <a:gd name="connsiteX43" fmla="*/ 315145 w 533723"/>
                  <a:gd name="connsiteY43" fmla="*/ 65146 h 415347"/>
                  <a:gd name="connsiteX44" fmla="*/ 315984 w 533723"/>
                  <a:gd name="connsiteY44" fmla="*/ 64282 h 415347"/>
                  <a:gd name="connsiteX45" fmla="*/ 336115 w 533723"/>
                  <a:gd name="connsiteY45" fmla="*/ 45493 h 415347"/>
                  <a:gd name="connsiteX46" fmla="*/ 339135 w 533723"/>
                  <a:gd name="connsiteY46" fmla="*/ 43303 h 415347"/>
                  <a:gd name="connsiteX47" fmla="*/ 344556 w 533723"/>
                  <a:gd name="connsiteY47" fmla="*/ 40552 h 415347"/>
                  <a:gd name="connsiteX48" fmla="*/ 348957 w 533723"/>
                  <a:gd name="connsiteY48" fmla="*/ 38760 h 415347"/>
                  <a:gd name="connsiteX49" fmla="*/ 368054 w 533723"/>
                  <a:gd name="connsiteY49" fmla="*/ 34807 h 415347"/>
                  <a:gd name="connsiteX50" fmla="*/ 382234 w 533723"/>
                  <a:gd name="connsiteY50" fmla="*/ 37952 h 415347"/>
                  <a:gd name="connsiteX51" fmla="*/ 390275 w 533723"/>
                  <a:gd name="connsiteY51" fmla="*/ 35652 h 415347"/>
                  <a:gd name="connsiteX52" fmla="*/ 390840 w 533723"/>
                  <a:gd name="connsiteY52" fmla="*/ 35749 h 415347"/>
                  <a:gd name="connsiteX53" fmla="*/ 391575 w 533723"/>
                  <a:gd name="connsiteY53" fmla="*/ 35894 h 415347"/>
                  <a:gd name="connsiteX54" fmla="*/ 391750 w 533723"/>
                  <a:gd name="connsiteY54" fmla="*/ 35955 h 415347"/>
                  <a:gd name="connsiteX55" fmla="*/ 392615 w 533723"/>
                  <a:gd name="connsiteY55" fmla="*/ 36327 h 415347"/>
                  <a:gd name="connsiteX56" fmla="*/ 393242 w 533723"/>
                  <a:gd name="connsiteY56" fmla="*/ 36306 h 415347"/>
                  <a:gd name="connsiteX57" fmla="*/ 393406 w 533723"/>
                  <a:gd name="connsiteY57" fmla="*/ 36317 h 415347"/>
                  <a:gd name="connsiteX58" fmla="*/ 397383 w 533723"/>
                  <a:gd name="connsiteY58" fmla="*/ 37341 h 415347"/>
                  <a:gd name="connsiteX59" fmla="*/ 408367 w 533723"/>
                  <a:gd name="connsiteY59" fmla="*/ 43126 h 415347"/>
                  <a:gd name="connsiteX60" fmla="*/ 459773 w 533723"/>
                  <a:gd name="connsiteY60" fmla="*/ 126491 h 415347"/>
                  <a:gd name="connsiteX61" fmla="*/ 441680 w 533723"/>
                  <a:gd name="connsiteY61" fmla="*/ 188008 h 415347"/>
                  <a:gd name="connsiteX62" fmla="*/ 442553 w 533723"/>
                  <a:gd name="connsiteY62" fmla="*/ 192637 h 415347"/>
                  <a:gd name="connsiteX63" fmla="*/ 443081 w 533723"/>
                  <a:gd name="connsiteY63" fmla="*/ 194875 h 415347"/>
                  <a:gd name="connsiteX64" fmla="*/ 451172 w 533723"/>
                  <a:gd name="connsiteY64" fmla="*/ 201092 h 415347"/>
                  <a:gd name="connsiteX65" fmla="*/ 458953 w 533723"/>
                  <a:gd name="connsiteY65" fmla="*/ 214116 h 415347"/>
                  <a:gd name="connsiteX66" fmla="*/ 459209 w 533723"/>
                  <a:gd name="connsiteY66" fmla="*/ 216161 h 415347"/>
                  <a:gd name="connsiteX67" fmla="*/ 460971 w 533723"/>
                  <a:gd name="connsiteY67" fmla="*/ 219929 h 415347"/>
                  <a:gd name="connsiteX68" fmla="*/ 461361 w 533723"/>
                  <a:gd name="connsiteY68" fmla="*/ 220754 h 415347"/>
                  <a:gd name="connsiteX69" fmla="*/ 470303 w 533723"/>
                  <a:gd name="connsiteY69" fmla="*/ 246015 h 415347"/>
                  <a:gd name="connsiteX70" fmla="*/ 469962 w 533723"/>
                  <a:gd name="connsiteY70" fmla="*/ 245448 h 415347"/>
                  <a:gd name="connsiteX71" fmla="*/ 468971 w 533723"/>
                  <a:gd name="connsiteY71" fmla="*/ 243799 h 415347"/>
                  <a:gd name="connsiteX72" fmla="*/ 464115 w 533723"/>
                  <a:gd name="connsiteY72" fmla="*/ 240660 h 415347"/>
                  <a:gd name="connsiteX73" fmla="*/ 457544 w 533723"/>
                  <a:gd name="connsiteY73" fmla="*/ 239804 h 415347"/>
                  <a:gd name="connsiteX74" fmla="*/ 463829 w 533723"/>
                  <a:gd name="connsiteY74" fmla="*/ 242086 h 415347"/>
                  <a:gd name="connsiteX75" fmla="*/ 469895 w 533723"/>
                  <a:gd name="connsiteY75" fmla="*/ 245979 h 415347"/>
                  <a:gd name="connsiteX76" fmla="*/ 470460 w 533723"/>
                  <a:gd name="connsiteY76" fmla="*/ 246460 h 415347"/>
                  <a:gd name="connsiteX77" fmla="*/ 485321 w 533723"/>
                  <a:gd name="connsiteY77" fmla="*/ 288443 h 415347"/>
                  <a:gd name="connsiteX78" fmla="*/ 485666 w 533723"/>
                  <a:gd name="connsiteY78" fmla="*/ 289289 h 415347"/>
                  <a:gd name="connsiteX79" fmla="*/ 485392 w 533723"/>
                  <a:gd name="connsiteY79" fmla="*/ 285754 h 415347"/>
                  <a:gd name="connsiteX80" fmla="*/ 485409 w 533723"/>
                  <a:gd name="connsiteY80" fmla="*/ 284254 h 415347"/>
                  <a:gd name="connsiteX81" fmla="*/ 485552 w 533723"/>
                  <a:gd name="connsiteY81" fmla="*/ 284634 h 415347"/>
                  <a:gd name="connsiteX82" fmla="*/ 487684 w 533723"/>
                  <a:gd name="connsiteY82" fmla="*/ 290297 h 415347"/>
                  <a:gd name="connsiteX83" fmla="*/ 487716 w 533723"/>
                  <a:gd name="connsiteY83" fmla="*/ 290381 h 415347"/>
                  <a:gd name="connsiteX84" fmla="*/ 487709 w 533723"/>
                  <a:gd name="connsiteY84" fmla="*/ 290382 h 415347"/>
                  <a:gd name="connsiteX85" fmla="*/ 486150 w 533723"/>
                  <a:gd name="connsiteY85" fmla="*/ 290474 h 415347"/>
                  <a:gd name="connsiteX86" fmla="*/ 488742 w 533723"/>
                  <a:gd name="connsiteY86" fmla="*/ 296824 h 415347"/>
                  <a:gd name="connsiteX87" fmla="*/ 494320 w 533723"/>
                  <a:gd name="connsiteY87" fmla="*/ 295556 h 415347"/>
                  <a:gd name="connsiteX88" fmla="*/ 512429 w 533723"/>
                  <a:gd name="connsiteY88" fmla="*/ 291820 h 415347"/>
                  <a:gd name="connsiteX89" fmla="*/ 519005 w 533723"/>
                  <a:gd name="connsiteY89" fmla="*/ 287509 h 415347"/>
                  <a:gd name="connsiteX90" fmla="*/ 520508 w 533723"/>
                  <a:gd name="connsiteY90" fmla="*/ 286839 h 415347"/>
                  <a:gd name="connsiteX91" fmla="*/ 522424 w 533723"/>
                  <a:gd name="connsiteY91" fmla="*/ 286502 h 415347"/>
                  <a:gd name="connsiteX92" fmla="*/ 523091 w 533723"/>
                  <a:gd name="connsiteY92" fmla="*/ 286385 h 415347"/>
                  <a:gd name="connsiteX93" fmla="*/ 525364 w 533723"/>
                  <a:gd name="connsiteY93" fmla="*/ 286646 h 415347"/>
                  <a:gd name="connsiteX94" fmla="*/ 533413 w 533723"/>
                  <a:gd name="connsiteY94" fmla="*/ 297855 h 415347"/>
                  <a:gd name="connsiteX95" fmla="*/ 530826 w 533723"/>
                  <a:gd name="connsiteY95" fmla="*/ 316249 h 415347"/>
                  <a:gd name="connsiteX96" fmla="*/ 530588 w 533723"/>
                  <a:gd name="connsiteY96" fmla="*/ 318085 h 415347"/>
                  <a:gd name="connsiteX97" fmla="*/ 530192 w 533723"/>
                  <a:gd name="connsiteY97" fmla="*/ 320320 h 415347"/>
                  <a:gd name="connsiteX98" fmla="*/ 529838 w 533723"/>
                  <a:gd name="connsiteY98" fmla="*/ 321637 h 415347"/>
                  <a:gd name="connsiteX99" fmla="*/ 526883 w 533723"/>
                  <a:gd name="connsiteY99" fmla="*/ 332653 h 415347"/>
                  <a:gd name="connsiteX100" fmla="*/ 524435 w 533723"/>
                  <a:gd name="connsiteY100" fmla="*/ 341781 h 415347"/>
                  <a:gd name="connsiteX101" fmla="*/ 519934 w 533723"/>
                  <a:gd name="connsiteY101" fmla="*/ 353045 h 415347"/>
                  <a:gd name="connsiteX102" fmla="*/ 493458 w 533723"/>
                  <a:gd name="connsiteY102" fmla="*/ 392987 h 415347"/>
                  <a:gd name="connsiteX103" fmla="*/ 421143 w 533723"/>
                  <a:gd name="connsiteY103" fmla="*/ 403455 h 415347"/>
                  <a:gd name="connsiteX104" fmla="*/ 416615 w 533723"/>
                  <a:gd name="connsiteY104" fmla="*/ 401105 h 415347"/>
                  <a:gd name="connsiteX105" fmla="*/ 401019 w 533723"/>
                  <a:gd name="connsiteY105" fmla="*/ 392405 h 415347"/>
                  <a:gd name="connsiteX106" fmla="*/ 381629 w 533723"/>
                  <a:gd name="connsiteY106" fmla="*/ 410745 h 415347"/>
                  <a:gd name="connsiteX107" fmla="*/ 364512 w 533723"/>
                  <a:gd name="connsiteY107" fmla="*/ 414388 h 415347"/>
                  <a:gd name="connsiteX108" fmla="*/ 362260 w 533723"/>
                  <a:gd name="connsiteY108" fmla="*/ 412847 h 415347"/>
                  <a:gd name="connsiteX109" fmla="*/ 359508 w 533723"/>
                  <a:gd name="connsiteY109" fmla="*/ 412530 h 415347"/>
                  <a:gd name="connsiteX110" fmla="*/ 354180 w 533723"/>
                  <a:gd name="connsiteY110" fmla="*/ 409493 h 415347"/>
                  <a:gd name="connsiteX111" fmla="*/ 351263 w 533723"/>
                  <a:gd name="connsiteY111" fmla="*/ 406931 h 415347"/>
                  <a:gd name="connsiteX112" fmla="*/ 351015 w 533723"/>
                  <a:gd name="connsiteY112" fmla="*/ 406713 h 415347"/>
                  <a:gd name="connsiteX113" fmla="*/ 348397 w 533723"/>
                  <a:gd name="connsiteY113" fmla="*/ 403432 h 415347"/>
                  <a:gd name="connsiteX114" fmla="*/ 347445 w 533723"/>
                  <a:gd name="connsiteY114" fmla="*/ 401927 h 415347"/>
                  <a:gd name="connsiteX115" fmla="*/ 345319 w 533723"/>
                  <a:gd name="connsiteY115" fmla="*/ 397536 h 415347"/>
                  <a:gd name="connsiteX116" fmla="*/ 344561 w 533723"/>
                  <a:gd name="connsiteY116" fmla="*/ 395286 h 415347"/>
                  <a:gd name="connsiteX117" fmla="*/ 335650 w 533723"/>
                  <a:gd name="connsiteY117" fmla="*/ 375455 h 415347"/>
                  <a:gd name="connsiteX118" fmla="*/ 322714 w 533723"/>
                  <a:gd name="connsiteY118" fmla="*/ 362234 h 415347"/>
                  <a:gd name="connsiteX119" fmla="*/ 319648 w 533723"/>
                  <a:gd name="connsiteY119" fmla="*/ 358159 h 415347"/>
                  <a:gd name="connsiteX120" fmla="*/ 319434 w 533723"/>
                  <a:gd name="connsiteY120" fmla="*/ 357823 h 415347"/>
                  <a:gd name="connsiteX121" fmla="*/ 314734 w 533723"/>
                  <a:gd name="connsiteY121" fmla="*/ 350455 h 415347"/>
                  <a:gd name="connsiteX122" fmla="*/ 319052 w 533723"/>
                  <a:gd name="connsiteY122" fmla="*/ 316733 h 415347"/>
                  <a:gd name="connsiteX123" fmla="*/ 323333 w 533723"/>
                  <a:gd name="connsiteY123" fmla="*/ 310656 h 415347"/>
                  <a:gd name="connsiteX124" fmla="*/ 320679 w 533723"/>
                  <a:gd name="connsiteY124" fmla="*/ 310837 h 415347"/>
                  <a:gd name="connsiteX125" fmla="*/ 316984 w 533723"/>
                  <a:gd name="connsiteY125" fmla="*/ 309959 h 415347"/>
                  <a:gd name="connsiteX126" fmla="*/ 278469 w 533723"/>
                  <a:gd name="connsiteY126" fmla="*/ 281787 h 415347"/>
                  <a:gd name="connsiteX127" fmla="*/ 279196 w 533723"/>
                  <a:gd name="connsiteY127" fmla="*/ 221148 h 415347"/>
                  <a:gd name="connsiteX128" fmla="*/ 281137 w 533723"/>
                  <a:gd name="connsiteY128" fmla="*/ 212759 h 415347"/>
                  <a:gd name="connsiteX129" fmla="*/ 280817 w 533723"/>
                  <a:gd name="connsiteY129" fmla="*/ 212855 h 415347"/>
                  <a:gd name="connsiteX130" fmla="*/ 280074 w 533723"/>
                  <a:gd name="connsiteY130" fmla="*/ 213019 h 415347"/>
                  <a:gd name="connsiteX131" fmla="*/ 208386 w 533723"/>
                  <a:gd name="connsiteY131" fmla="*/ 230868 h 415347"/>
                  <a:gd name="connsiteX132" fmla="*/ 129358 w 533723"/>
                  <a:gd name="connsiteY132" fmla="*/ 256155 h 415347"/>
                  <a:gd name="connsiteX133" fmla="*/ 76481 w 533723"/>
                  <a:gd name="connsiteY133" fmla="*/ 253856 h 415347"/>
                  <a:gd name="connsiteX134" fmla="*/ 56365 w 533723"/>
                  <a:gd name="connsiteY134" fmla="*/ 204718 h 415347"/>
                  <a:gd name="connsiteX135" fmla="*/ 6361 w 533723"/>
                  <a:gd name="connsiteY135" fmla="*/ 145234 h 415347"/>
                  <a:gd name="connsiteX136" fmla="*/ 4924 w 533723"/>
                  <a:gd name="connsiteY136" fmla="*/ 90923 h 415347"/>
                  <a:gd name="connsiteX137" fmla="*/ 26190 w 533723"/>
                  <a:gd name="connsiteY137" fmla="*/ 62762 h 415347"/>
                  <a:gd name="connsiteX138" fmla="*/ 51192 w 533723"/>
                  <a:gd name="connsiteY138" fmla="*/ 63624 h 415347"/>
                  <a:gd name="connsiteX139" fmla="*/ 92574 w 533723"/>
                  <a:gd name="connsiteY139" fmla="*/ 72245 h 415347"/>
                  <a:gd name="connsiteX140" fmla="*/ 148899 w 533723"/>
                  <a:gd name="connsiteY140" fmla="*/ 97533 h 415347"/>
                  <a:gd name="connsiteX141" fmla="*/ 100620 w 533723"/>
                  <a:gd name="connsiteY141" fmla="*/ 70233 h 415347"/>
                  <a:gd name="connsiteX142" fmla="*/ 68722 w 533723"/>
                  <a:gd name="connsiteY142" fmla="*/ 57877 h 415347"/>
                  <a:gd name="connsiteX143" fmla="*/ 95735 w 533723"/>
                  <a:gd name="connsiteY143" fmla="*/ 33739 h 415347"/>
                  <a:gd name="connsiteX144" fmla="*/ 118438 w 533723"/>
                  <a:gd name="connsiteY144" fmla="*/ 6440 h 415347"/>
                  <a:gd name="connsiteX145" fmla="*/ 135290 w 533723"/>
                  <a:gd name="connsiteY145" fmla="*/ 95 h 415347"/>
                  <a:gd name="connsiteX0" fmla="*/ 528506 w 533723"/>
                  <a:gd name="connsiteY0" fmla="*/ 291832 h 415322"/>
                  <a:gd name="connsiteX1" fmla="*/ 510121 w 533723"/>
                  <a:gd name="connsiteY1" fmla="*/ 300446 h 415322"/>
                  <a:gd name="connsiteX2" fmla="*/ 500354 w 533723"/>
                  <a:gd name="connsiteY2" fmla="*/ 302312 h 415322"/>
                  <a:gd name="connsiteX3" fmla="*/ 489695 w 533723"/>
                  <a:gd name="connsiteY3" fmla="*/ 299159 h 415322"/>
                  <a:gd name="connsiteX4" fmla="*/ 490953 w 533723"/>
                  <a:gd name="connsiteY4" fmla="*/ 302242 h 415322"/>
                  <a:gd name="connsiteX5" fmla="*/ 490826 w 533723"/>
                  <a:gd name="connsiteY5" fmla="*/ 302554 h 415322"/>
                  <a:gd name="connsiteX6" fmla="*/ 497481 w 533723"/>
                  <a:gd name="connsiteY6" fmla="*/ 306188 h 415322"/>
                  <a:gd name="connsiteX7" fmla="*/ 505812 w 533723"/>
                  <a:gd name="connsiteY7" fmla="*/ 305901 h 415322"/>
                  <a:gd name="connsiteX8" fmla="*/ 523335 w 533723"/>
                  <a:gd name="connsiteY8" fmla="*/ 297575 h 415322"/>
                  <a:gd name="connsiteX9" fmla="*/ 528506 w 533723"/>
                  <a:gd name="connsiteY9" fmla="*/ 291832 h 415322"/>
                  <a:gd name="connsiteX10" fmla="*/ 459095 w 533723"/>
                  <a:gd name="connsiteY10" fmla="*/ 214354 h 415322"/>
                  <a:gd name="connsiteX11" fmla="*/ 470185 w 533723"/>
                  <a:gd name="connsiteY11" fmla="*/ 232917 h 415322"/>
                  <a:gd name="connsiteX12" fmla="*/ 469083 w 533723"/>
                  <a:gd name="connsiteY12" fmla="*/ 236710 h 415322"/>
                  <a:gd name="connsiteX13" fmla="*/ 465107 w 533723"/>
                  <a:gd name="connsiteY13" fmla="*/ 228628 h 415322"/>
                  <a:gd name="connsiteX14" fmla="*/ 462850 w 533723"/>
                  <a:gd name="connsiteY14" fmla="*/ 223907 h 415322"/>
                  <a:gd name="connsiteX15" fmla="*/ 461361 w 533723"/>
                  <a:gd name="connsiteY15" fmla="*/ 220754 h 415322"/>
                  <a:gd name="connsiteX16" fmla="*/ 459095 w 533723"/>
                  <a:gd name="connsiteY16" fmla="*/ 214354 h 415322"/>
                  <a:gd name="connsiteX17" fmla="*/ 458921 w 533723"/>
                  <a:gd name="connsiteY17" fmla="*/ 213862 h 415322"/>
                  <a:gd name="connsiteX18" fmla="*/ 459095 w 533723"/>
                  <a:gd name="connsiteY18" fmla="*/ 214354 h 415322"/>
                  <a:gd name="connsiteX19" fmla="*/ 458953 w 533723"/>
                  <a:gd name="connsiteY19" fmla="*/ 214116 h 415322"/>
                  <a:gd name="connsiteX20" fmla="*/ 458921 w 533723"/>
                  <a:gd name="connsiteY20" fmla="*/ 213862 h 415322"/>
                  <a:gd name="connsiteX21" fmla="*/ 231642 w 533723"/>
                  <a:gd name="connsiteY21" fmla="*/ 117869 h 415322"/>
                  <a:gd name="connsiteX22" fmla="*/ 245739 w 533723"/>
                  <a:gd name="connsiteY22" fmla="*/ 119960 h 415322"/>
                  <a:gd name="connsiteX23" fmla="*/ 247479 w 533723"/>
                  <a:gd name="connsiteY23" fmla="*/ 117948 h 415322"/>
                  <a:gd name="connsiteX24" fmla="*/ 241439 w 533723"/>
                  <a:gd name="connsiteY24" fmla="*/ 117896 h 415322"/>
                  <a:gd name="connsiteX25" fmla="*/ 231642 w 533723"/>
                  <a:gd name="connsiteY25" fmla="*/ 117869 h 415322"/>
                  <a:gd name="connsiteX26" fmla="*/ 393966 w 533723"/>
                  <a:gd name="connsiteY26" fmla="*/ 59548 h 415322"/>
                  <a:gd name="connsiteX27" fmla="*/ 394760 w 533723"/>
                  <a:gd name="connsiteY27" fmla="*/ 61641 h 415322"/>
                  <a:gd name="connsiteX28" fmla="*/ 396543 w 533723"/>
                  <a:gd name="connsiteY28" fmla="*/ 61922 h 415322"/>
                  <a:gd name="connsiteX29" fmla="*/ 393966 w 533723"/>
                  <a:gd name="connsiteY29" fmla="*/ 59548 h 415322"/>
                  <a:gd name="connsiteX30" fmla="*/ 135290 w 533723"/>
                  <a:gd name="connsiteY30" fmla="*/ 95 h 415322"/>
                  <a:gd name="connsiteX31" fmla="*/ 142002 w 533723"/>
                  <a:gd name="connsiteY31" fmla="*/ 118 h 415322"/>
                  <a:gd name="connsiteX32" fmla="*/ 184247 w 533723"/>
                  <a:gd name="connsiteY32" fmla="*/ 9888 h 415322"/>
                  <a:gd name="connsiteX33" fmla="*/ 237411 w 533723"/>
                  <a:gd name="connsiteY33" fmla="*/ 31727 h 415322"/>
                  <a:gd name="connsiteX34" fmla="*/ 273908 w 533723"/>
                  <a:gd name="connsiteY34" fmla="*/ 50693 h 415322"/>
                  <a:gd name="connsiteX35" fmla="*/ 300993 w 533723"/>
                  <a:gd name="connsiteY35" fmla="*/ 65241 h 415322"/>
                  <a:gd name="connsiteX36" fmla="*/ 313770 w 533723"/>
                  <a:gd name="connsiteY36" fmla="*/ 72415 h 415322"/>
                  <a:gd name="connsiteX37" fmla="*/ 317458 w 533723"/>
                  <a:gd name="connsiteY37" fmla="*/ 74704 h 415322"/>
                  <a:gd name="connsiteX38" fmla="*/ 321989 w 533723"/>
                  <a:gd name="connsiteY38" fmla="*/ 77518 h 415322"/>
                  <a:gd name="connsiteX39" fmla="*/ 328509 w 533723"/>
                  <a:gd name="connsiteY39" fmla="*/ 81728 h 415322"/>
                  <a:gd name="connsiteX40" fmla="*/ 329950 w 533723"/>
                  <a:gd name="connsiteY40" fmla="*/ 82770 h 415322"/>
                  <a:gd name="connsiteX41" fmla="*/ 322786 w 533723"/>
                  <a:gd name="connsiteY41" fmla="*/ 67357 h 415322"/>
                  <a:gd name="connsiteX42" fmla="*/ 318179 w 533723"/>
                  <a:gd name="connsiteY42" fmla="*/ 66024 h 415322"/>
                  <a:gd name="connsiteX43" fmla="*/ 315145 w 533723"/>
                  <a:gd name="connsiteY43" fmla="*/ 65146 h 415322"/>
                  <a:gd name="connsiteX44" fmla="*/ 315984 w 533723"/>
                  <a:gd name="connsiteY44" fmla="*/ 64282 h 415322"/>
                  <a:gd name="connsiteX45" fmla="*/ 336115 w 533723"/>
                  <a:gd name="connsiteY45" fmla="*/ 45493 h 415322"/>
                  <a:gd name="connsiteX46" fmla="*/ 339135 w 533723"/>
                  <a:gd name="connsiteY46" fmla="*/ 43303 h 415322"/>
                  <a:gd name="connsiteX47" fmla="*/ 344556 w 533723"/>
                  <a:gd name="connsiteY47" fmla="*/ 40552 h 415322"/>
                  <a:gd name="connsiteX48" fmla="*/ 348957 w 533723"/>
                  <a:gd name="connsiteY48" fmla="*/ 38760 h 415322"/>
                  <a:gd name="connsiteX49" fmla="*/ 368054 w 533723"/>
                  <a:gd name="connsiteY49" fmla="*/ 34807 h 415322"/>
                  <a:gd name="connsiteX50" fmla="*/ 382234 w 533723"/>
                  <a:gd name="connsiteY50" fmla="*/ 37952 h 415322"/>
                  <a:gd name="connsiteX51" fmla="*/ 390275 w 533723"/>
                  <a:gd name="connsiteY51" fmla="*/ 35652 h 415322"/>
                  <a:gd name="connsiteX52" fmla="*/ 390840 w 533723"/>
                  <a:gd name="connsiteY52" fmla="*/ 35749 h 415322"/>
                  <a:gd name="connsiteX53" fmla="*/ 391575 w 533723"/>
                  <a:gd name="connsiteY53" fmla="*/ 35894 h 415322"/>
                  <a:gd name="connsiteX54" fmla="*/ 391750 w 533723"/>
                  <a:gd name="connsiteY54" fmla="*/ 35955 h 415322"/>
                  <a:gd name="connsiteX55" fmla="*/ 392615 w 533723"/>
                  <a:gd name="connsiteY55" fmla="*/ 36327 h 415322"/>
                  <a:gd name="connsiteX56" fmla="*/ 393242 w 533723"/>
                  <a:gd name="connsiteY56" fmla="*/ 36306 h 415322"/>
                  <a:gd name="connsiteX57" fmla="*/ 393406 w 533723"/>
                  <a:gd name="connsiteY57" fmla="*/ 36317 h 415322"/>
                  <a:gd name="connsiteX58" fmla="*/ 397383 w 533723"/>
                  <a:gd name="connsiteY58" fmla="*/ 37341 h 415322"/>
                  <a:gd name="connsiteX59" fmla="*/ 408367 w 533723"/>
                  <a:gd name="connsiteY59" fmla="*/ 43126 h 415322"/>
                  <a:gd name="connsiteX60" fmla="*/ 459773 w 533723"/>
                  <a:gd name="connsiteY60" fmla="*/ 126491 h 415322"/>
                  <a:gd name="connsiteX61" fmla="*/ 441680 w 533723"/>
                  <a:gd name="connsiteY61" fmla="*/ 188008 h 415322"/>
                  <a:gd name="connsiteX62" fmla="*/ 442553 w 533723"/>
                  <a:gd name="connsiteY62" fmla="*/ 192637 h 415322"/>
                  <a:gd name="connsiteX63" fmla="*/ 443081 w 533723"/>
                  <a:gd name="connsiteY63" fmla="*/ 194875 h 415322"/>
                  <a:gd name="connsiteX64" fmla="*/ 451172 w 533723"/>
                  <a:gd name="connsiteY64" fmla="*/ 201092 h 415322"/>
                  <a:gd name="connsiteX65" fmla="*/ 458953 w 533723"/>
                  <a:gd name="connsiteY65" fmla="*/ 214116 h 415322"/>
                  <a:gd name="connsiteX66" fmla="*/ 459209 w 533723"/>
                  <a:gd name="connsiteY66" fmla="*/ 216161 h 415322"/>
                  <a:gd name="connsiteX67" fmla="*/ 460971 w 533723"/>
                  <a:gd name="connsiteY67" fmla="*/ 219929 h 415322"/>
                  <a:gd name="connsiteX68" fmla="*/ 461361 w 533723"/>
                  <a:gd name="connsiteY68" fmla="*/ 220754 h 415322"/>
                  <a:gd name="connsiteX69" fmla="*/ 470303 w 533723"/>
                  <a:gd name="connsiteY69" fmla="*/ 246015 h 415322"/>
                  <a:gd name="connsiteX70" fmla="*/ 469962 w 533723"/>
                  <a:gd name="connsiteY70" fmla="*/ 245448 h 415322"/>
                  <a:gd name="connsiteX71" fmla="*/ 468971 w 533723"/>
                  <a:gd name="connsiteY71" fmla="*/ 243799 h 415322"/>
                  <a:gd name="connsiteX72" fmla="*/ 464115 w 533723"/>
                  <a:gd name="connsiteY72" fmla="*/ 240660 h 415322"/>
                  <a:gd name="connsiteX73" fmla="*/ 457544 w 533723"/>
                  <a:gd name="connsiteY73" fmla="*/ 239804 h 415322"/>
                  <a:gd name="connsiteX74" fmla="*/ 463829 w 533723"/>
                  <a:gd name="connsiteY74" fmla="*/ 242086 h 415322"/>
                  <a:gd name="connsiteX75" fmla="*/ 469895 w 533723"/>
                  <a:gd name="connsiteY75" fmla="*/ 245979 h 415322"/>
                  <a:gd name="connsiteX76" fmla="*/ 470460 w 533723"/>
                  <a:gd name="connsiteY76" fmla="*/ 246460 h 415322"/>
                  <a:gd name="connsiteX77" fmla="*/ 485321 w 533723"/>
                  <a:gd name="connsiteY77" fmla="*/ 288443 h 415322"/>
                  <a:gd name="connsiteX78" fmla="*/ 485666 w 533723"/>
                  <a:gd name="connsiteY78" fmla="*/ 289289 h 415322"/>
                  <a:gd name="connsiteX79" fmla="*/ 485392 w 533723"/>
                  <a:gd name="connsiteY79" fmla="*/ 285754 h 415322"/>
                  <a:gd name="connsiteX80" fmla="*/ 485409 w 533723"/>
                  <a:gd name="connsiteY80" fmla="*/ 284254 h 415322"/>
                  <a:gd name="connsiteX81" fmla="*/ 485552 w 533723"/>
                  <a:gd name="connsiteY81" fmla="*/ 284634 h 415322"/>
                  <a:gd name="connsiteX82" fmla="*/ 487684 w 533723"/>
                  <a:gd name="connsiteY82" fmla="*/ 290297 h 415322"/>
                  <a:gd name="connsiteX83" fmla="*/ 487716 w 533723"/>
                  <a:gd name="connsiteY83" fmla="*/ 290381 h 415322"/>
                  <a:gd name="connsiteX84" fmla="*/ 487709 w 533723"/>
                  <a:gd name="connsiteY84" fmla="*/ 290382 h 415322"/>
                  <a:gd name="connsiteX85" fmla="*/ 486150 w 533723"/>
                  <a:gd name="connsiteY85" fmla="*/ 290474 h 415322"/>
                  <a:gd name="connsiteX86" fmla="*/ 488742 w 533723"/>
                  <a:gd name="connsiteY86" fmla="*/ 296824 h 415322"/>
                  <a:gd name="connsiteX87" fmla="*/ 494320 w 533723"/>
                  <a:gd name="connsiteY87" fmla="*/ 295556 h 415322"/>
                  <a:gd name="connsiteX88" fmla="*/ 512429 w 533723"/>
                  <a:gd name="connsiteY88" fmla="*/ 291820 h 415322"/>
                  <a:gd name="connsiteX89" fmla="*/ 519005 w 533723"/>
                  <a:gd name="connsiteY89" fmla="*/ 287509 h 415322"/>
                  <a:gd name="connsiteX90" fmla="*/ 520508 w 533723"/>
                  <a:gd name="connsiteY90" fmla="*/ 286839 h 415322"/>
                  <a:gd name="connsiteX91" fmla="*/ 522424 w 533723"/>
                  <a:gd name="connsiteY91" fmla="*/ 286502 h 415322"/>
                  <a:gd name="connsiteX92" fmla="*/ 523091 w 533723"/>
                  <a:gd name="connsiteY92" fmla="*/ 286385 h 415322"/>
                  <a:gd name="connsiteX93" fmla="*/ 525364 w 533723"/>
                  <a:gd name="connsiteY93" fmla="*/ 286646 h 415322"/>
                  <a:gd name="connsiteX94" fmla="*/ 533413 w 533723"/>
                  <a:gd name="connsiteY94" fmla="*/ 297855 h 415322"/>
                  <a:gd name="connsiteX95" fmla="*/ 530826 w 533723"/>
                  <a:gd name="connsiteY95" fmla="*/ 316249 h 415322"/>
                  <a:gd name="connsiteX96" fmla="*/ 530588 w 533723"/>
                  <a:gd name="connsiteY96" fmla="*/ 318085 h 415322"/>
                  <a:gd name="connsiteX97" fmla="*/ 530192 w 533723"/>
                  <a:gd name="connsiteY97" fmla="*/ 320320 h 415322"/>
                  <a:gd name="connsiteX98" fmla="*/ 529838 w 533723"/>
                  <a:gd name="connsiteY98" fmla="*/ 321637 h 415322"/>
                  <a:gd name="connsiteX99" fmla="*/ 526883 w 533723"/>
                  <a:gd name="connsiteY99" fmla="*/ 332653 h 415322"/>
                  <a:gd name="connsiteX100" fmla="*/ 524435 w 533723"/>
                  <a:gd name="connsiteY100" fmla="*/ 341781 h 415322"/>
                  <a:gd name="connsiteX101" fmla="*/ 519934 w 533723"/>
                  <a:gd name="connsiteY101" fmla="*/ 353045 h 415322"/>
                  <a:gd name="connsiteX102" fmla="*/ 493458 w 533723"/>
                  <a:gd name="connsiteY102" fmla="*/ 392987 h 415322"/>
                  <a:gd name="connsiteX103" fmla="*/ 421143 w 533723"/>
                  <a:gd name="connsiteY103" fmla="*/ 403455 h 415322"/>
                  <a:gd name="connsiteX104" fmla="*/ 416615 w 533723"/>
                  <a:gd name="connsiteY104" fmla="*/ 401105 h 415322"/>
                  <a:gd name="connsiteX105" fmla="*/ 403771 w 533723"/>
                  <a:gd name="connsiteY105" fmla="*/ 393322 h 415322"/>
                  <a:gd name="connsiteX106" fmla="*/ 381629 w 533723"/>
                  <a:gd name="connsiteY106" fmla="*/ 410745 h 415322"/>
                  <a:gd name="connsiteX107" fmla="*/ 364512 w 533723"/>
                  <a:gd name="connsiteY107" fmla="*/ 414388 h 415322"/>
                  <a:gd name="connsiteX108" fmla="*/ 362260 w 533723"/>
                  <a:gd name="connsiteY108" fmla="*/ 412847 h 415322"/>
                  <a:gd name="connsiteX109" fmla="*/ 359508 w 533723"/>
                  <a:gd name="connsiteY109" fmla="*/ 412530 h 415322"/>
                  <a:gd name="connsiteX110" fmla="*/ 354180 w 533723"/>
                  <a:gd name="connsiteY110" fmla="*/ 409493 h 415322"/>
                  <a:gd name="connsiteX111" fmla="*/ 351263 w 533723"/>
                  <a:gd name="connsiteY111" fmla="*/ 406931 h 415322"/>
                  <a:gd name="connsiteX112" fmla="*/ 351015 w 533723"/>
                  <a:gd name="connsiteY112" fmla="*/ 406713 h 415322"/>
                  <a:gd name="connsiteX113" fmla="*/ 348397 w 533723"/>
                  <a:gd name="connsiteY113" fmla="*/ 403432 h 415322"/>
                  <a:gd name="connsiteX114" fmla="*/ 347445 w 533723"/>
                  <a:gd name="connsiteY114" fmla="*/ 401927 h 415322"/>
                  <a:gd name="connsiteX115" fmla="*/ 345319 w 533723"/>
                  <a:gd name="connsiteY115" fmla="*/ 397536 h 415322"/>
                  <a:gd name="connsiteX116" fmla="*/ 344561 w 533723"/>
                  <a:gd name="connsiteY116" fmla="*/ 395286 h 415322"/>
                  <a:gd name="connsiteX117" fmla="*/ 335650 w 533723"/>
                  <a:gd name="connsiteY117" fmla="*/ 375455 h 415322"/>
                  <a:gd name="connsiteX118" fmla="*/ 322714 w 533723"/>
                  <a:gd name="connsiteY118" fmla="*/ 362234 h 415322"/>
                  <a:gd name="connsiteX119" fmla="*/ 319648 w 533723"/>
                  <a:gd name="connsiteY119" fmla="*/ 358159 h 415322"/>
                  <a:gd name="connsiteX120" fmla="*/ 319434 w 533723"/>
                  <a:gd name="connsiteY120" fmla="*/ 357823 h 415322"/>
                  <a:gd name="connsiteX121" fmla="*/ 314734 w 533723"/>
                  <a:gd name="connsiteY121" fmla="*/ 350455 h 415322"/>
                  <a:gd name="connsiteX122" fmla="*/ 319052 w 533723"/>
                  <a:gd name="connsiteY122" fmla="*/ 316733 h 415322"/>
                  <a:gd name="connsiteX123" fmla="*/ 323333 w 533723"/>
                  <a:gd name="connsiteY123" fmla="*/ 310656 h 415322"/>
                  <a:gd name="connsiteX124" fmla="*/ 320679 w 533723"/>
                  <a:gd name="connsiteY124" fmla="*/ 310837 h 415322"/>
                  <a:gd name="connsiteX125" fmla="*/ 316984 w 533723"/>
                  <a:gd name="connsiteY125" fmla="*/ 309959 h 415322"/>
                  <a:gd name="connsiteX126" fmla="*/ 278469 w 533723"/>
                  <a:gd name="connsiteY126" fmla="*/ 281787 h 415322"/>
                  <a:gd name="connsiteX127" fmla="*/ 279196 w 533723"/>
                  <a:gd name="connsiteY127" fmla="*/ 221148 h 415322"/>
                  <a:gd name="connsiteX128" fmla="*/ 281137 w 533723"/>
                  <a:gd name="connsiteY128" fmla="*/ 212759 h 415322"/>
                  <a:gd name="connsiteX129" fmla="*/ 280817 w 533723"/>
                  <a:gd name="connsiteY129" fmla="*/ 212855 h 415322"/>
                  <a:gd name="connsiteX130" fmla="*/ 280074 w 533723"/>
                  <a:gd name="connsiteY130" fmla="*/ 213019 h 415322"/>
                  <a:gd name="connsiteX131" fmla="*/ 208386 w 533723"/>
                  <a:gd name="connsiteY131" fmla="*/ 230868 h 415322"/>
                  <a:gd name="connsiteX132" fmla="*/ 129358 w 533723"/>
                  <a:gd name="connsiteY132" fmla="*/ 256155 h 415322"/>
                  <a:gd name="connsiteX133" fmla="*/ 76481 w 533723"/>
                  <a:gd name="connsiteY133" fmla="*/ 253856 h 415322"/>
                  <a:gd name="connsiteX134" fmla="*/ 56365 w 533723"/>
                  <a:gd name="connsiteY134" fmla="*/ 204718 h 415322"/>
                  <a:gd name="connsiteX135" fmla="*/ 6361 w 533723"/>
                  <a:gd name="connsiteY135" fmla="*/ 145234 h 415322"/>
                  <a:gd name="connsiteX136" fmla="*/ 4924 w 533723"/>
                  <a:gd name="connsiteY136" fmla="*/ 90923 h 415322"/>
                  <a:gd name="connsiteX137" fmla="*/ 26190 w 533723"/>
                  <a:gd name="connsiteY137" fmla="*/ 62762 h 415322"/>
                  <a:gd name="connsiteX138" fmla="*/ 51192 w 533723"/>
                  <a:gd name="connsiteY138" fmla="*/ 63624 h 415322"/>
                  <a:gd name="connsiteX139" fmla="*/ 92574 w 533723"/>
                  <a:gd name="connsiteY139" fmla="*/ 72245 h 415322"/>
                  <a:gd name="connsiteX140" fmla="*/ 148899 w 533723"/>
                  <a:gd name="connsiteY140" fmla="*/ 97533 h 415322"/>
                  <a:gd name="connsiteX141" fmla="*/ 100620 w 533723"/>
                  <a:gd name="connsiteY141" fmla="*/ 70233 h 415322"/>
                  <a:gd name="connsiteX142" fmla="*/ 68722 w 533723"/>
                  <a:gd name="connsiteY142" fmla="*/ 57877 h 415322"/>
                  <a:gd name="connsiteX143" fmla="*/ 95735 w 533723"/>
                  <a:gd name="connsiteY143" fmla="*/ 33739 h 415322"/>
                  <a:gd name="connsiteX144" fmla="*/ 118438 w 533723"/>
                  <a:gd name="connsiteY144" fmla="*/ 6440 h 415322"/>
                  <a:gd name="connsiteX145" fmla="*/ 135290 w 533723"/>
                  <a:gd name="connsiteY145" fmla="*/ 95 h 41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533723" h="415322">
                    <a:moveTo>
                      <a:pt x="528506" y="291832"/>
                    </a:moveTo>
                    <a:cubicBezTo>
                      <a:pt x="528506" y="291832"/>
                      <a:pt x="516154" y="299584"/>
                      <a:pt x="510121" y="300446"/>
                    </a:cubicBezTo>
                    <a:cubicBezTo>
                      <a:pt x="507105" y="300877"/>
                      <a:pt x="504089" y="302097"/>
                      <a:pt x="500354" y="302312"/>
                    </a:cubicBezTo>
                    <a:lnTo>
                      <a:pt x="489695" y="299159"/>
                    </a:lnTo>
                    <a:lnTo>
                      <a:pt x="490953" y="302242"/>
                    </a:lnTo>
                    <a:cubicBezTo>
                      <a:pt x="490911" y="302346"/>
                      <a:pt x="490868" y="302450"/>
                      <a:pt x="490826" y="302554"/>
                    </a:cubicBezTo>
                    <a:lnTo>
                      <a:pt x="497481" y="306188"/>
                    </a:lnTo>
                    <a:cubicBezTo>
                      <a:pt x="502940" y="306475"/>
                      <a:pt x="505812" y="305901"/>
                      <a:pt x="505812" y="305901"/>
                    </a:cubicBezTo>
                    <a:cubicBezTo>
                      <a:pt x="517015" y="304465"/>
                      <a:pt x="521899" y="299010"/>
                      <a:pt x="523335" y="297575"/>
                    </a:cubicBezTo>
                    <a:cubicBezTo>
                      <a:pt x="525059" y="296426"/>
                      <a:pt x="528506" y="291832"/>
                      <a:pt x="528506" y="291832"/>
                    </a:cubicBezTo>
                    <a:close/>
                    <a:moveTo>
                      <a:pt x="459095" y="214354"/>
                    </a:moveTo>
                    <a:lnTo>
                      <a:pt x="470185" y="232917"/>
                    </a:lnTo>
                    <a:lnTo>
                      <a:pt x="469083" y="236710"/>
                    </a:lnTo>
                    <a:lnTo>
                      <a:pt x="465107" y="228628"/>
                    </a:lnTo>
                    <a:cubicBezTo>
                      <a:pt x="464316" y="226985"/>
                      <a:pt x="463551" y="225384"/>
                      <a:pt x="462850" y="223907"/>
                    </a:cubicBezTo>
                    <a:lnTo>
                      <a:pt x="461361" y="220754"/>
                    </a:lnTo>
                    <a:lnTo>
                      <a:pt x="459095" y="214354"/>
                    </a:lnTo>
                    <a:close/>
                    <a:moveTo>
                      <a:pt x="458921" y="213862"/>
                    </a:moveTo>
                    <a:lnTo>
                      <a:pt x="459095" y="214354"/>
                    </a:lnTo>
                    <a:lnTo>
                      <a:pt x="458953" y="214116"/>
                    </a:lnTo>
                    <a:cubicBezTo>
                      <a:pt x="458942" y="214031"/>
                      <a:pt x="458932" y="213947"/>
                      <a:pt x="458921" y="213862"/>
                    </a:cubicBezTo>
                    <a:close/>
                    <a:moveTo>
                      <a:pt x="231642" y="117869"/>
                    </a:moveTo>
                    <a:lnTo>
                      <a:pt x="245739" y="119960"/>
                    </a:lnTo>
                    <a:lnTo>
                      <a:pt x="247479" y="117948"/>
                    </a:lnTo>
                    <a:lnTo>
                      <a:pt x="241439" y="117896"/>
                    </a:lnTo>
                    <a:lnTo>
                      <a:pt x="231642" y="117869"/>
                    </a:lnTo>
                    <a:close/>
                    <a:moveTo>
                      <a:pt x="393966" y="59548"/>
                    </a:moveTo>
                    <a:lnTo>
                      <a:pt x="394760" y="61641"/>
                    </a:lnTo>
                    <a:lnTo>
                      <a:pt x="396543" y="61922"/>
                    </a:lnTo>
                    <a:lnTo>
                      <a:pt x="393966" y="59548"/>
                    </a:lnTo>
                    <a:close/>
                    <a:moveTo>
                      <a:pt x="135290" y="95"/>
                    </a:moveTo>
                    <a:cubicBezTo>
                      <a:pt x="137297" y="-44"/>
                      <a:pt x="139488" y="-26"/>
                      <a:pt x="142002" y="118"/>
                    </a:cubicBezTo>
                    <a:cubicBezTo>
                      <a:pt x="151773" y="692"/>
                      <a:pt x="171890" y="5290"/>
                      <a:pt x="184247" y="9888"/>
                    </a:cubicBezTo>
                    <a:cubicBezTo>
                      <a:pt x="196604" y="14198"/>
                      <a:pt x="225916" y="24831"/>
                      <a:pt x="237411" y="31727"/>
                    </a:cubicBezTo>
                    <a:cubicBezTo>
                      <a:pt x="250056" y="38911"/>
                      <a:pt x="261551" y="43509"/>
                      <a:pt x="273908" y="50693"/>
                    </a:cubicBezTo>
                    <a:cubicBezTo>
                      <a:pt x="280230" y="54285"/>
                      <a:pt x="290576" y="59601"/>
                      <a:pt x="300993" y="65241"/>
                    </a:cubicBezTo>
                    <a:lnTo>
                      <a:pt x="313770" y="72415"/>
                    </a:lnTo>
                    <a:lnTo>
                      <a:pt x="317458" y="74704"/>
                    </a:lnTo>
                    <a:lnTo>
                      <a:pt x="321989" y="77518"/>
                    </a:lnTo>
                    <a:lnTo>
                      <a:pt x="328509" y="81728"/>
                    </a:lnTo>
                    <a:lnTo>
                      <a:pt x="329950" y="82770"/>
                    </a:lnTo>
                    <a:lnTo>
                      <a:pt x="322786" y="67357"/>
                    </a:lnTo>
                    <a:lnTo>
                      <a:pt x="318179" y="66024"/>
                    </a:lnTo>
                    <a:lnTo>
                      <a:pt x="315145" y="65146"/>
                    </a:lnTo>
                    <a:lnTo>
                      <a:pt x="315984" y="64282"/>
                    </a:lnTo>
                    <a:cubicBezTo>
                      <a:pt x="319030" y="61163"/>
                      <a:pt x="328778" y="51321"/>
                      <a:pt x="336115" y="45493"/>
                    </a:cubicBezTo>
                    <a:lnTo>
                      <a:pt x="339135" y="43303"/>
                    </a:lnTo>
                    <a:lnTo>
                      <a:pt x="344556" y="40552"/>
                    </a:lnTo>
                    <a:lnTo>
                      <a:pt x="348957" y="38760"/>
                    </a:lnTo>
                    <a:cubicBezTo>
                      <a:pt x="353552" y="36748"/>
                      <a:pt x="359726" y="34376"/>
                      <a:pt x="368054" y="34807"/>
                    </a:cubicBezTo>
                    <a:cubicBezTo>
                      <a:pt x="372219" y="35023"/>
                      <a:pt x="376921" y="35939"/>
                      <a:pt x="382234" y="37952"/>
                    </a:cubicBezTo>
                    <a:cubicBezTo>
                      <a:pt x="403198" y="46001"/>
                      <a:pt x="390275" y="35652"/>
                      <a:pt x="390275" y="35652"/>
                    </a:cubicBezTo>
                    <a:cubicBezTo>
                      <a:pt x="390275" y="35652"/>
                      <a:pt x="390477" y="35683"/>
                      <a:pt x="390840" y="35749"/>
                    </a:cubicBezTo>
                    <a:lnTo>
                      <a:pt x="391575" y="35894"/>
                    </a:lnTo>
                    <a:lnTo>
                      <a:pt x="391750" y="35955"/>
                    </a:lnTo>
                    <a:cubicBezTo>
                      <a:pt x="392319" y="36184"/>
                      <a:pt x="392615" y="36327"/>
                      <a:pt x="392615" y="36327"/>
                    </a:cubicBezTo>
                    <a:cubicBezTo>
                      <a:pt x="392615" y="36327"/>
                      <a:pt x="392831" y="36305"/>
                      <a:pt x="393242" y="36306"/>
                    </a:cubicBezTo>
                    <a:lnTo>
                      <a:pt x="393406" y="36317"/>
                    </a:lnTo>
                    <a:lnTo>
                      <a:pt x="397383" y="37341"/>
                    </a:lnTo>
                    <a:cubicBezTo>
                      <a:pt x="401260" y="38527"/>
                      <a:pt x="405783" y="40395"/>
                      <a:pt x="408367" y="43126"/>
                    </a:cubicBezTo>
                    <a:cubicBezTo>
                      <a:pt x="413537" y="48875"/>
                      <a:pt x="463219" y="96019"/>
                      <a:pt x="459773" y="126491"/>
                    </a:cubicBezTo>
                    <a:cubicBezTo>
                      <a:pt x="457762" y="144888"/>
                      <a:pt x="440819" y="179671"/>
                      <a:pt x="441680" y="188008"/>
                    </a:cubicBezTo>
                    <a:cubicBezTo>
                      <a:pt x="441860" y="189266"/>
                      <a:pt x="442165" y="190853"/>
                      <a:pt x="442553" y="192637"/>
                    </a:cubicBezTo>
                    <a:lnTo>
                      <a:pt x="443081" y="194875"/>
                    </a:lnTo>
                    <a:lnTo>
                      <a:pt x="451172" y="201092"/>
                    </a:lnTo>
                    <a:lnTo>
                      <a:pt x="458953" y="214116"/>
                    </a:lnTo>
                    <a:cubicBezTo>
                      <a:pt x="459038" y="214798"/>
                      <a:pt x="459124" y="215479"/>
                      <a:pt x="459209" y="216161"/>
                    </a:cubicBezTo>
                    <a:cubicBezTo>
                      <a:pt x="459209" y="216161"/>
                      <a:pt x="459892" y="217634"/>
                      <a:pt x="460971" y="219929"/>
                    </a:cubicBezTo>
                    <a:lnTo>
                      <a:pt x="461361" y="220754"/>
                    </a:lnTo>
                    <a:lnTo>
                      <a:pt x="470303" y="246015"/>
                    </a:lnTo>
                    <a:lnTo>
                      <a:pt x="469962" y="245448"/>
                    </a:lnTo>
                    <a:lnTo>
                      <a:pt x="468971" y="243799"/>
                    </a:lnTo>
                    <a:cubicBezTo>
                      <a:pt x="468971" y="243799"/>
                      <a:pt x="466400" y="241516"/>
                      <a:pt x="464115" y="240660"/>
                    </a:cubicBezTo>
                    <a:cubicBezTo>
                      <a:pt x="461829" y="239518"/>
                      <a:pt x="457544" y="239804"/>
                      <a:pt x="457544" y="239804"/>
                    </a:cubicBezTo>
                    <a:cubicBezTo>
                      <a:pt x="457544" y="239804"/>
                      <a:pt x="461829" y="241516"/>
                      <a:pt x="463829" y="242086"/>
                    </a:cubicBezTo>
                    <a:cubicBezTo>
                      <a:pt x="465329" y="242300"/>
                      <a:pt x="468435" y="244762"/>
                      <a:pt x="469895" y="245979"/>
                    </a:cubicBezTo>
                    <a:lnTo>
                      <a:pt x="470460" y="246460"/>
                    </a:lnTo>
                    <a:lnTo>
                      <a:pt x="485321" y="288443"/>
                    </a:lnTo>
                    <a:lnTo>
                      <a:pt x="485666" y="289289"/>
                    </a:lnTo>
                    <a:cubicBezTo>
                      <a:pt x="485575" y="288111"/>
                      <a:pt x="485483" y="286932"/>
                      <a:pt x="485392" y="285754"/>
                    </a:cubicBezTo>
                    <a:cubicBezTo>
                      <a:pt x="485398" y="285254"/>
                      <a:pt x="485403" y="284754"/>
                      <a:pt x="485409" y="284254"/>
                    </a:cubicBezTo>
                    <a:cubicBezTo>
                      <a:pt x="485457" y="284381"/>
                      <a:pt x="485504" y="284507"/>
                      <a:pt x="485552" y="284634"/>
                    </a:cubicBezTo>
                    <a:lnTo>
                      <a:pt x="487684" y="290297"/>
                    </a:lnTo>
                    <a:cubicBezTo>
                      <a:pt x="487695" y="290325"/>
                      <a:pt x="487705" y="290353"/>
                      <a:pt x="487716" y="290381"/>
                    </a:cubicBezTo>
                    <a:cubicBezTo>
                      <a:pt x="487714" y="290381"/>
                      <a:pt x="487711" y="290382"/>
                      <a:pt x="487709" y="290382"/>
                    </a:cubicBezTo>
                    <a:lnTo>
                      <a:pt x="486150" y="290474"/>
                    </a:lnTo>
                    <a:lnTo>
                      <a:pt x="488742" y="296824"/>
                    </a:lnTo>
                    <a:lnTo>
                      <a:pt x="494320" y="295556"/>
                    </a:lnTo>
                    <a:cubicBezTo>
                      <a:pt x="500644" y="296131"/>
                      <a:pt x="506393" y="294406"/>
                      <a:pt x="512429" y="291820"/>
                    </a:cubicBezTo>
                    <a:cubicBezTo>
                      <a:pt x="515304" y="290526"/>
                      <a:pt x="517172" y="288730"/>
                      <a:pt x="519005" y="287509"/>
                    </a:cubicBezTo>
                    <a:lnTo>
                      <a:pt x="520508" y="286839"/>
                    </a:lnTo>
                    <a:lnTo>
                      <a:pt x="522424" y="286502"/>
                    </a:lnTo>
                    <a:lnTo>
                      <a:pt x="523091" y="286385"/>
                    </a:lnTo>
                    <a:lnTo>
                      <a:pt x="525364" y="286646"/>
                    </a:lnTo>
                    <a:cubicBezTo>
                      <a:pt x="530826" y="288371"/>
                      <a:pt x="531976" y="291532"/>
                      <a:pt x="533413" y="297855"/>
                    </a:cubicBezTo>
                    <a:cubicBezTo>
                      <a:pt x="534850" y="304178"/>
                      <a:pt x="530826" y="316249"/>
                      <a:pt x="530826" y="316249"/>
                    </a:cubicBezTo>
                    <a:cubicBezTo>
                      <a:pt x="530826" y="316249"/>
                      <a:pt x="530763" y="316891"/>
                      <a:pt x="530588" y="318085"/>
                    </a:cubicBezTo>
                    <a:lnTo>
                      <a:pt x="530192" y="320320"/>
                    </a:lnTo>
                    <a:lnTo>
                      <a:pt x="529838" y="321637"/>
                    </a:lnTo>
                    <a:lnTo>
                      <a:pt x="526883" y="332653"/>
                    </a:lnTo>
                    <a:lnTo>
                      <a:pt x="524435" y="341781"/>
                    </a:lnTo>
                    <a:lnTo>
                      <a:pt x="519934" y="353045"/>
                    </a:lnTo>
                    <a:cubicBezTo>
                      <a:pt x="514343" y="365490"/>
                      <a:pt x="505962" y="379622"/>
                      <a:pt x="493458" y="392987"/>
                    </a:cubicBezTo>
                    <a:cubicBezTo>
                      <a:pt x="468666" y="419716"/>
                      <a:pt x="437567" y="410878"/>
                      <a:pt x="421143" y="403455"/>
                    </a:cubicBezTo>
                    <a:lnTo>
                      <a:pt x="416615" y="401105"/>
                    </a:lnTo>
                    <a:cubicBezTo>
                      <a:pt x="416179" y="402174"/>
                      <a:pt x="404207" y="392253"/>
                      <a:pt x="403771" y="393322"/>
                    </a:cubicBezTo>
                    <a:cubicBezTo>
                      <a:pt x="395387" y="401831"/>
                      <a:pt x="388172" y="407234"/>
                      <a:pt x="381629" y="410745"/>
                    </a:cubicBezTo>
                    <a:cubicBezTo>
                      <a:pt x="375086" y="414256"/>
                      <a:pt x="370055" y="416767"/>
                      <a:pt x="364512" y="414388"/>
                    </a:cubicBezTo>
                    <a:lnTo>
                      <a:pt x="362260" y="412847"/>
                    </a:lnTo>
                    <a:lnTo>
                      <a:pt x="359508" y="412530"/>
                    </a:lnTo>
                    <a:lnTo>
                      <a:pt x="354180" y="409493"/>
                    </a:lnTo>
                    <a:lnTo>
                      <a:pt x="351263" y="406931"/>
                    </a:lnTo>
                    <a:lnTo>
                      <a:pt x="351015" y="406713"/>
                    </a:lnTo>
                    <a:lnTo>
                      <a:pt x="348397" y="403432"/>
                    </a:lnTo>
                    <a:lnTo>
                      <a:pt x="347445" y="401927"/>
                    </a:lnTo>
                    <a:lnTo>
                      <a:pt x="345319" y="397536"/>
                    </a:lnTo>
                    <a:cubicBezTo>
                      <a:pt x="344794" y="396166"/>
                      <a:pt x="344561" y="395286"/>
                      <a:pt x="344561" y="395286"/>
                    </a:cubicBezTo>
                    <a:lnTo>
                      <a:pt x="335650" y="375455"/>
                    </a:lnTo>
                    <a:cubicBezTo>
                      <a:pt x="335650" y="375455"/>
                      <a:pt x="327314" y="367408"/>
                      <a:pt x="322714" y="362234"/>
                    </a:cubicBezTo>
                    <a:lnTo>
                      <a:pt x="319648" y="358159"/>
                    </a:lnTo>
                    <a:lnTo>
                      <a:pt x="319434" y="357823"/>
                    </a:lnTo>
                    <a:lnTo>
                      <a:pt x="314734" y="350455"/>
                    </a:lnTo>
                    <a:cubicBezTo>
                      <a:pt x="314734" y="350455"/>
                      <a:pt x="310334" y="332411"/>
                      <a:pt x="319052" y="316733"/>
                    </a:cubicBezTo>
                    <a:lnTo>
                      <a:pt x="323333" y="310656"/>
                    </a:lnTo>
                    <a:lnTo>
                      <a:pt x="320679" y="310837"/>
                    </a:lnTo>
                    <a:cubicBezTo>
                      <a:pt x="319405" y="310763"/>
                      <a:pt x="318170" y="310498"/>
                      <a:pt x="316984" y="309959"/>
                    </a:cubicBezTo>
                    <a:cubicBezTo>
                      <a:pt x="307787" y="305647"/>
                      <a:pt x="281056" y="298172"/>
                      <a:pt x="278469" y="281787"/>
                    </a:cubicBezTo>
                    <a:cubicBezTo>
                      <a:pt x="276529" y="269497"/>
                      <a:pt x="275235" y="243140"/>
                      <a:pt x="279196" y="221148"/>
                    </a:cubicBezTo>
                    <a:lnTo>
                      <a:pt x="281137" y="212759"/>
                    </a:lnTo>
                    <a:lnTo>
                      <a:pt x="280817" y="212855"/>
                    </a:lnTo>
                    <a:lnTo>
                      <a:pt x="280074" y="213019"/>
                    </a:lnTo>
                    <a:cubicBezTo>
                      <a:pt x="269049" y="215467"/>
                      <a:pt x="223976" y="225587"/>
                      <a:pt x="208386" y="230868"/>
                    </a:cubicBezTo>
                    <a:cubicBezTo>
                      <a:pt x="190569" y="236902"/>
                      <a:pt x="148612" y="256155"/>
                      <a:pt x="129358" y="256155"/>
                    </a:cubicBezTo>
                    <a:cubicBezTo>
                      <a:pt x="102632" y="255868"/>
                      <a:pt x="76481" y="253856"/>
                      <a:pt x="76481" y="253856"/>
                    </a:cubicBezTo>
                    <a:cubicBezTo>
                      <a:pt x="76481" y="253856"/>
                      <a:pt x="66710" y="217649"/>
                      <a:pt x="56365" y="204718"/>
                    </a:cubicBezTo>
                    <a:cubicBezTo>
                      <a:pt x="45732" y="191787"/>
                      <a:pt x="12971" y="165062"/>
                      <a:pt x="6361" y="145234"/>
                    </a:cubicBezTo>
                    <a:cubicBezTo>
                      <a:pt x="39" y="125119"/>
                      <a:pt x="-3409" y="109027"/>
                      <a:pt x="4924" y="90923"/>
                    </a:cubicBezTo>
                    <a:cubicBezTo>
                      <a:pt x="12971" y="73107"/>
                      <a:pt x="26190" y="62762"/>
                      <a:pt x="26190" y="62762"/>
                    </a:cubicBezTo>
                    <a:lnTo>
                      <a:pt x="51192" y="63624"/>
                    </a:lnTo>
                    <a:cubicBezTo>
                      <a:pt x="62399" y="65061"/>
                      <a:pt x="80217" y="68222"/>
                      <a:pt x="92574" y="72245"/>
                    </a:cubicBezTo>
                    <a:cubicBezTo>
                      <a:pt x="104644" y="76268"/>
                      <a:pt x="148899" y="97533"/>
                      <a:pt x="148899" y="97533"/>
                    </a:cubicBezTo>
                    <a:lnTo>
                      <a:pt x="100620" y="70233"/>
                    </a:lnTo>
                    <a:lnTo>
                      <a:pt x="68722" y="57877"/>
                    </a:lnTo>
                    <a:cubicBezTo>
                      <a:pt x="68722" y="57877"/>
                      <a:pt x="82803" y="49544"/>
                      <a:pt x="95735" y="33739"/>
                    </a:cubicBezTo>
                    <a:cubicBezTo>
                      <a:pt x="108667" y="17934"/>
                      <a:pt x="109816" y="12187"/>
                      <a:pt x="118438" y="6440"/>
                    </a:cubicBezTo>
                    <a:cubicBezTo>
                      <a:pt x="124904" y="2345"/>
                      <a:pt x="129268" y="513"/>
                      <a:pt x="135290" y="95"/>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ea typeface="Segoe UI" pitchFamily="34" charset="0"/>
                  <a:cs typeface="Segoe UI" pitchFamily="34" charset="0"/>
                </a:endParaRPr>
              </a:p>
            </p:txBody>
          </p:sp>
          <p:sp>
            <p:nvSpPr>
              <p:cNvPr id="8" name="Freeform 7"/>
              <p:cNvSpPr>
                <a:spLocks/>
              </p:cNvSpPr>
              <p:nvPr/>
            </p:nvSpPr>
            <p:spPr bwMode="auto">
              <a:xfrm>
                <a:off x="1203881" y="3576757"/>
                <a:ext cx="290830" cy="297796"/>
              </a:xfrm>
              <a:custGeom>
                <a:avLst/>
                <a:gdLst>
                  <a:gd name="connsiteX0" fmla="*/ 1222186 w 2129049"/>
                  <a:gd name="connsiteY0" fmla="*/ 1839320 h 2180047"/>
                  <a:gd name="connsiteX1" fmla="*/ 1208400 w 2129049"/>
                  <a:gd name="connsiteY1" fmla="*/ 1841119 h 2180047"/>
                  <a:gd name="connsiteX2" fmla="*/ 1186099 w 2129049"/>
                  <a:gd name="connsiteY2" fmla="*/ 1843640 h 2180047"/>
                  <a:gd name="connsiteX3" fmla="*/ 1188379 w 2129049"/>
                  <a:gd name="connsiteY3" fmla="*/ 1844841 h 2180047"/>
                  <a:gd name="connsiteX4" fmla="*/ 1243194 w 2129049"/>
                  <a:gd name="connsiteY4" fmla="*/ 1939957 h 2180047"/>
                  <a:gd name="connsiteX5" fmla="*/ 1223702 w 2129049"/>
                  <a:gd name="connsiteY5" fmla="*/ 1853174 h 2180047"/>
                  <a:gd name="connsiteX6" fmla="*/ 1222569 w 2129049"/>
                  <a:gd name="connsiteY6" fmla="*/ 1839342 h 2180047"/>
                  <a:gd name="connsiteX7" fmla="*/ 441891 w 2129049"/>
                  <a:gd name="connsiteY7" fmla="*/ 1746105 h 2180047"/>
                  <a:gd name="connsiteX8" fmla="*/ 450977 w 2129049"/>
                  <a:gd name="connsiteY8" fmla="*/ 1757606 h 2180047"/>
                  <a:gd name="connsiteX9" fmla="*/ 707370 w 2129049"/>
                  <a:gd name="connsiteY9" fmla="*/ 1976776 h 2180047"/>
                  <a:gd name="connsiteX10" fmla="*/ 766453 w 2129049"/>
                  <a:gd name="connsiteY10" fmla="*/ 2010648 h 2180047"/>
                  <a:gd name="connsiteX11" fmla="*/ 831225 w 2129049"/>
                  <a:gd name="connsiteY11" fmla="*/ 2015356 h 2180047"/>
                  <a:gd name="connsiteX12" fmla="*/ 999836 w 2129049"/>
                  <a:gd name="connsiteY12" fmla="*/ 2014732 h 2180047"/>
                  <a:gd name="connsiteX13" fmla="*/ 1033552 w 2129049"/>
                  <a:gd name="connsiteY13" fmla="*/ 2011934 h 2180047"/>
                  <a:gd name="connsiteX14" fmla="*/ 1030508 w 2129049"/>
                  <a:gd name="connsiteY14" fmla="*/ 1991231 h 2180047"/>
                  <a:gd name="connsiteX15" fmla="*/ 1069280 w 2129049"/>
                  <a:gd name="connsiteY15" fmla="*/ 1869985 h 2180047"/>
                  <a:gd name="connsiteX16" fmla="*/ 1086998 w 2129049"/>
                  <a:gd name="connsiteY16" fmla="*/ 1852207 h 2180047"/>
                  <a:gd name="connsiteX17" fmla="*/ 1040249 w 2129049"/>
                  <a:gd name="connsiteY17" fmla="*/ 1855089 h 2180047"/>
                  <a:gd name="connsiteX18" fmla="*/ 700561 w 2129049"/>
                  <a:gd name="connsiteY18" fmla="*/ 1833012 h 2180047"/>
                  <a:gd name="connsiteX19" fmla="*/ 442094 w 2129049"/>
                  <a:gd name="connsiteY19" fmla="*/ 1746192 h 2180047"/>
                  <a:gd name="connsiteX20" fmla="*/ 1059954 w 2129049"/>
                  <a:gd name="connsiteY20" fmla="*/ 1504433 h 2180047"/>
                  <a:gd name="connsiteX21" fmla="*/ 1137935 w 2129049"/>
                  <a:gd name="connsiteY21" fmla="*/ 1553560 h 2180047"/>
                  <a:gd name="connsiteX22" fmla="*/ 1232714 w 2129049"/>
                  <a:gd name="connsiteY22" fmla="*/ 1597039 h 2180047"/>
                  <a:gd name="connsiteX23" fmla="*/ 1498003 w 2129049"/>
                  <a:gd name="connsiteY23" fmla="*/ 1620193 h 2180047"/>
                  <a:gd name="connsiteX24" fmla="*/ 1417995 w 2129049"/>
                  <a:gd name="connsiteY24" fmla="*/ 1660186 h 2180047"/>
                  <a:gd name="connsiteX25" fmla="*/ 1260085 w 2129049"/>
                  <a:gd name="connsiteY25" fmla="*/ 1660186 h 2180047"/>
                  <a:gd name="connsiteX26" fmla="*/ 1110597 w 2129049"/>
                  <a:gd name="connsiteY26" fmla="*/ 1640189 h 2180047"/>
                  <a:gd name="connsiteX27" fmla="*/ 1099046 w 2129049"/>
                  <a:gd name="connsiteY27" fmla="*/ 1638682 h 2180047"/>
                  <a:gd name="connsiteX28" fmla="*/ 251840 w 2129049"/>
                  <a:gd name="connsiteY28" fmla="*/ 316333 h 2180047"/>
                  <a:gd name="connsiteX29" fmla="*/ 246796 w 2129049"/>
                  <a:gd name="connsiteY29" fmla="*/ 329846 h 2180047"/>
                  <a:gd name="connsiteX30" fmla="*/ 161902 w 2129049"/>
                  <a:gd name="connsiteY30" fmla="*/ 686152 h 2180047"/>
                  <a:gd name="connsiteX31" fmla="*/ 163319 w 2129049"/>
                  <a:gd name="connsiteY31" fmla="*/ 765157 h 2180047"/>
                  <a:gd name="connsiteX32" fmla="*/ 168120 w 2129049"/>
                  <a:gd name="connsiteY32" fmla="*/ 772124 h 2180047"/>
                  <a:gd name="connsiteX33" fmla="*/ 462568 w 2129049"/>
                  <a:gd name="connsiteY33" fmla="*/ 1054574 h 2180047"/>
                  <a:gd name="connsiteX34" fmla="*/ 1083519 w 2129049"/>
                  <a:gd name="connsiteY34" fmla="*/ 1296666 h 2180047"/>
                  <a:gd name="connsiteX35" fmla="*/ 1112988 w 2129049"/>
                  <a:gd name="connsiteY35" fmla="*/ 1212460 h 2180047"/>
                  <a:gd name="connsiteX36" fmla="*/ 635171 w 2129049"/>
                  <a:gd name="connsiteY36" fmla="*/ 913528 h 2180047"/>
                  <a:gd name="connsiteX37" fmla="*/ 256327 w 2129049"/>
                  <a:gd name="connsiteY37" fmla="*/ 344726 h 2180047"/>
                  <a:gd name="connsiteX38" fmla="*/ 203697 w 2129049"/>
                  <a:gd name="connsiteY38" fmla="*/ 216555 h 2180047"/>
                  <a:gd name="connsiteX39" fmla="*/ 195507 w 2129049"/>
                  <a:gd name="connsiteY39" fmla="*/ 224152 h 2180047"/>
                  <a:gd name="connsiteX40" fmla="*/ 153435 w 2129049"/>
                  <a:gd name="connsiteY40" fmla="*/ 280530 h 2180047"/>
                  <a:gd name="connsiteX41" fmla="*/ 119142 w 2129049"/>
                  <a:gd name="connsiteY41" fmla="*/ 338248 h 2180047"/>
                  <a:gd name="connsiteX42" fmla="*/ 162420 w 2129049"/>
                  <a:gd name="connsiteY42" fmla="*/ 270250 h 2180047"/>
                  <a:gd name="connsiteX43" fmla="*/ 200473 w 2129049"/>
                  <a:gd name="connsiteY43" fmla="*/ 220227 h 2180047"/>
                  <a:gd name="connsiteX44" fmla="*/ 545326 w 2129049"/>
                  <a:gd name="connsiteY44" fmla="*/ 37476 h 2180047"/>
                  <a:gd name="connsiteX45" fmla="*/ 541800 w 2129049"/>
                  <a:gd name="connsiteY45" fmla="*/ 40991 h 2180047"/>
                  <a:gd name="connsiteX46" fmla="*/ 536701 w 2129049"/>
                  <a:gd name="connsiteY46" fmla="*/ 46149 h 2180047"/>
                  <a:gd name="connsiteX47" fmla="*/ 940947 w 2129049"/>
                  <a:gd name="connsiteY47" fmla="*/ 939893 h 2180047"/>
                  <a:gd name="connsiteX48" fmla="*/ 978333 w 2129049"/>
                  <a:gd name="connsiteY48" fmla="*/ 993267 h 2180047"/>
                  <a:gd name="connsiteX49" fmla="*/ 1095859 w 2129049"/>
                  <a:gd name="connsiteY49" fmla="*/ 1039243 h 2180047"/>
                  <a:gd name="connsiteX50" fmla="*/ 1131484 w 2129049"/>
                  <a:gd name="connsiteY50" fmla="*/ 1124187 h 2180047"/>
                  <a:gd name="connsiteX51" fmla="*/ 1146506 w 2129049"/>
                  <a:gd name="connsiteY51" fmla="*/ 1133109 h 2180047"/>
                  <a:gd name="connsiteX52" fmla="*/ 1148541 w 2129049"/>
                  <a:gd name="connsiteY52" fmla="*/ 1133748 h 2180047"/>
                  <a:gd name="connsiteX53" fmla="*/ 1141842 w 2129049"/>
                  <a:gd name="connsiteY53" fmla="*/ 1144915 h 2180047"/>
                  <a:gd name="connsiteX54" fmla="*/ 1141505 w 2129049"/>
                  <a:gd name="connsiteY54" fmla="*/ 1145660 h 2180047"/>
                  <a:gd name="connsiteX55" fmla="*/ 1187973 w 2129049"/>
                  <a:gd name="connsiteY55" fmla="*/ 1232630 h 2180047"/>
                  <a:gd name="connsiteX56" fmla="*/ 1289562 w 2129049"/>
                  <a:gd name="connsiteY56" fmla="*/ 1373921 h 2180047"/>
                  <a:gd name="connsiteX57" fmla="*/ 1531690 w 2129049"/>
                  <a:gd name="connsiteY57" fmla="*/ 1481270 h 2180047"/>
                  <a:gd name="connsiteX58" fmla="*/ 1426417 w 2129049"/>
                  <a:gd name="connsiteY58" fmla="*/ 1496004 h 2180047"/>
                  <a:gd name="connsiteX59" fmla="*/ 1194816 w 2129049"/>
                  <a:gd name="connsiteY59" fmla="*/ 1399179 h 2180047"/>
                  <a:gd name="connsiteX60" fmla="*/ 1145436 w 2129049"/>
                  <a:gd name="connsiteY60" fmla="*/ 1340670 h 2180047"/>
                  <a:gd name="connsiteX61" fmla="*/ 1091189 w 2129049"/>
                  <a:gd name="connsiteY61" fmla="*/ 1275923 h 2180047"/>
                  <a:gd name="connsiteX62" fmla="*/ 1064249 w 2129049"/>
                  <a:gd name="connsiteY62" fmla="*/ 1369079 h 2180047"/>
                  <a:gd name="connsiteX63" fmla="*/ 1046007 w 2129049"/>
                  <a:gd name="connsiteY63" fmla="*/ 1483657 h 2180047"/>
                  <a:gd name="connsiteX64" fmla="*/ 1046013 w 2129049"/>
                  <a:gd name="connsiteY64" fmla="*/ 1495461 h 2180047"/>
                  <a:gd name="connsiteX65" fmla="*/ 1012870 w 2129049"/>
                  <a:gd name="connsiteY65" fmla="*/ 1487283 h 2180047"/>
                  <a:gd name="connsiteX66" fmla="*/ 561761 w 2129049"/>
                  <a:gd name="connsiteY66" fmla="*/ 1355377 h 2180047"/>
                  <a:gd name="connsiteX67" fmla="*/ 245802 w 2129049"/>
                  <a:gd name="connsiteY67" fmla="*/ 1165644 h 2180047"/>
                  <a:gd name="connsiteX68" fmla="*/ 203985 w 2129049"/>
                  <a:gd name="connsiteY68" fmla="*/ 1132152 h 2180047"/>
                  <a:gd name="connsiteX69" fmla="*/ 234345 w 2129049"/>
                  <a:gd name="connsiteY69" fmla="*/ 1297625 h 2180047"/>
                  <a:gd name="connsiteX70" fmla="*/ 260418 w 2129049"/>
                  <a:gd name="connsiteY70" fmla="*/ 1401636 h 2180047"/>
                  <a:gd name="connsiteX71" fmla="*/ 276086 w 2129049"/>
                  <a:gd name="connsiteY71" fmla="*/ 1451374 h 2180047"/>
                  <a:gd name="connsiteX72" fmla="*/ 305709 w 2129049"/>
                  <a:gd name="connsiteY72" fmla="*/ 1466895 h 2180047"/>
                  <a:gd name="connsiteX73" fmla="*/ 561761 w 2129049"/>
                  <a:gd name="connsiteY73" fmla="*/ 1572001 h 2180047"/>
                  <a:gd name="connsiteX74" fmla="*/ 1106575 w 2129049"/>
                  <a:gd name="connsiteY74" fmla="*/ 1664539 h 2180047"/>
                  <a:gd name="connsiteX75" fmla="*/ 1106413 w 2129049"/>
                  <a:gd name="connsiteY75" fmla="*/ 1663981 h 2180047"/>
                  <a:gd name="connsiteX76" fmla="*/ 1109394 w 2129049"/>
                  <a:gd name="connsiteY76" fmla="*/ 1669032 h 2180047"/>
                  <a:gd name="connsiteX77" fmla="*/ 1145872 w 2129049"/>
                  <a:gd name="connsiteY77" fmla="*/ 1724864 h 2180047"/>
                  <a:gd name="connsiteX78" fmla="*/ 1151390 w 2129049"/>
                  <a:gd name="connsiteY78" fmla="*/ 1728726 h 2180047"/>
                  <a:gd name="connsiteX79" fmla="*/ 1244657 w 2129049"/>
                  <a:gd name="connsiteY79" fmla="*/ 1793994 h 2180047"/>
                  <a:gd name="connsiteX80" fmla="*/ 1255282 w 2129049"/>
                  <a:gd name="connsiteY80" fmla="*/ 1801430 h 2180047"/>
                  <a:gd name="connsiteX81" fmla="*/ 1259765 w 2129049"/>
                  <a:gd name="connsiteY81" fmla="*/ 1803273 h 2180047"/>
                  <a:gd name="connsiteX82" fmla="*/ 1262425 w 2129049"/>
                  <a:gd name="connsiteY82" fmla="*/ 1805592 h 2180047"/>
                  <a:gd name="connsiteX83" fmla="*/ 1274330 w 2129049"/>
                  <a:gd name="connsiteY83" fmla="*/ 1811179 h 2180047"/>
                  <a:gd name="connsiteX84" fmla="*/ 1470632 w 2129049"/>
                  <a:gd name="connsiteY84" fmla="*/ 1851731 h 2180047"/>
                  <a:gd name="connsiteX85" fmla="*/ 1337987 w 2129049"/>
                  <a:gd name="connsiteY85" fmla="*/ 1879094 h 2180047"/>
                  <a:gd name="connsiteX86" fmla="*/ 1331095 w 2129049"/>
                  <a:gd name="connsiteY86" fmla="*/ 1878426 h 2180047"/>
                  <a:gd name="connsiteX87" fmla="*/ 1337882 w 2129049"/>
                  <a:gd name="connsiteY87" fmla="*/ 1887387 h 2180047"/>
                  <a:gd name="connsiteX88" fmla="*/ 2129049 w 2129049"/>
                  <a:gd name="connsiteY88" fmla="*/ 1929443 h 2180047"/>
                  <a:gd name="connsiteX89" fmla="*/ 1413632 w 2129049"/>
                  <a:gd name="connsiteY89" fmla="*/ 2169166 h 2180047"/>
                  <a:gd name="connsiteX90" fmla="*/ 1301496 w 2129049"/>
                  <a:gd name="connsiteY90" fmla="*/ 2177335 h 2180047"/>
                  <a:gd name="connsiteX91" fmla="*/ 1281595 w 2129049"/>
                  <a:gd name="connsiteY91" fmla="*/ 2175656 h 2180047"/>
                  <a:gd name="connsiteX92" fmla="*/ 1272759 w 2129049"/>
                  <a:gd name="connsiteY92" fmla="*/ 2177928 h 2180047"/>
                  <a:gd name="connsiteX93" fmla="*/ 1063402 w 2129049"/>
                  <a:gd name="connsiteY93" fmla="*/ 2155016 h 2180047"/>
                  <a:gd name="connsiteX94" fmla="*/ 994039 w 2129049"/>
                  <a:gd name="connsiteY94" fmla="*/ 2133739 h 2180047"/>
                  <a:gd name="connsiteX95" fmla="*/ 954380 w 2129049"/>
                  <a:gd name="connsiteY95" fmla="*/ 2125140 h 2180047"/>
                  <a:gd name="connsiteX96" fmla="*/ 485181 w 2129049"/>
                  <a:gd name="connsiteY96" fmla="*/ 1869194 h 2180047"/>
                  <a:gd name="connsiteX97" fmla="*/ 424111 w 2129049"/>
                  <a:gd name="connsiteY97" fmla="*/ 1817746 h 2180047"/>
                  <a:gd name="connsiteX98" fmla="*/ 407264 w 2129049"/>
                  <a:gd name="connsiteY98" fmla="*/ 1804650 h 2180047"/>
                  <a:gd name="connsiteX99" fmla="*/ 400242 w 2129049"/>
                  <a:gd name="connsiteY99" fmla="*/ 1797638 h 2180047"/>
                  <a:gd name="connsiteX100" fmla="*/ 373060 w 2129049"/>
                  <a:gd name="connsiteY100" fmla="*/ 1774739 h 2180047"/>
                  <a:gd name="connsiteX101" fmla="*/ 178723 w 2129049"/>
                  <a:gd name="connsiteY101" fmla="*/ 1546546 h 2180047"/>
                  <a:gd name="connsiteX102" fmla="*/ 0 w 2129049"/>
                  <a:gd name="connsiteY102" fmla="*/ 780817 h 2180047"/>
                  <a:gd name="connsiteX103" fmla="*/ 75177 w 2129049"/>
                  <a:gd name="connsiteY103" fmla="*/ 424975 h 2180047"/>
                  <a:gd name="connsiteX104" fmla="*/ 118668 w 2129049"/>
                  <a:gd name="connsiteY104" fmla="*/ 339046 h 2180047"/>
                  <a:gd name="connsiteX105" fmla="*/ 116953 w 2129049"/>
                  <a:gd name="connsiteY105" fmla="*/ 341932 h 2180047"/>
                  <a:gd name="connsiteX106" fmla="*/ 93993 w 2129049"/>
                  <a:gd name="connsiteY106" fmla="*/ 385485 h 2180047"/>
                  <a:gd name="connsiteX107" fmla="*/ 93509 w 2129049"/>
                  <a:gd name="connsiteY107" fmla="*/ 386464 h 2180047"/>
                  <a:gd name="connsiteX108" fmla="*/ 95671 w 2129049"/>
                  <a:gd name="connsiteY108" fmla="*/ 380966 h 2180047"/>
                  <a:gd name="connsiteX109" fmla="*/ 182624 w 2129049"/>
                  <a:gd name="connsiteY109" fmla="*/ 235436 h 2180047"/>
                  <a:gd name="connsiteX110" fmla="*/ 478385 w 2129049"/>
                  <a:gd name="connsiteY110" fmla="*/ 56179 h 2180047"/>
                  <a:gd name="connsiteX111" fmla="*/ 999928 w 2129049"/>
                  <a:gd name="connsiteY111" fmla="*/ 0 h 2180047"/>
                  <a:gd name="connsiteX112" fmla="*/ 1676449 w 2129049"/>
                  <a:gd name="connsiteY112" fmla="*/ 525838 h 2180047"/>
                  <a:gd name="connsiteX113" fmla="*/ 1579666 w 2129049"/>
                  <a:gd name="connsiteY113" fmla="*/ 999319 h 2180047"/>
                  <a:gd name="connsiteX114" fmla="*/ 1467605 w 2129049"/>
                  <a:gd name="connsiteY114" fmla="*/ 1154947 h 2180047"/>
                  <a:gd name="connsiteX115" fmla="*/ 1464597 w 2129049"/>
                  <a:gd name="connsiteY115" fmla="*/ 1153889 h 2180047"/>
                  <a:gd name="connsiteX116" fmla="*/ 1452025 w 2129049"/>
                  <a:gd name="connsiteY116" fmla="*/ 1125910 h 2180047"/>
                  <a:gd name="connsiteX117" fmla="*/ 1421781 w 2129049"/>
                  <a:gd name="connsiteY117" fmla="*/ 1058603 h 2180047"/>
                  <a:gd name="connsiteX118" fmla="*/ 1327088 w 2129049"/>
                  <a:gd name="connsiteY118" fmla="*/ 961820 h 2180047"/>
                  <a:gd name="connsiteX119" fmla="*/ 1304643 w 2129049"/>
                  <a:gd name="connsiteY119" fmla="*/ 931982 h 2180047"/>
                  <a:gd name="connsiteX120" fmla="*/ 1303076 w 2129049"/>
                  <a:gd name="connsiteY120" fmla="*/ 929526 h 2180047"/>
                  <a:gd name="connsiteX121" fmla="*/ 1268667 w 2129049"/>
                  <a:gd name="connsiteY121" fmla="*/ 875590 h 2180047"/>
                  <a:gd name="connsiteX122" fmla="*/ 1300274 w 2129049"/>
                  <a:gd name="connsiteY122" fmla="*/ 628723 h 2180047"/>
                  <a:gd name="connsiteX123" fmla="*/ 1307563 w 2129049"/>
                  <a:gd name="connsiteY123" fmla="*/ 618378 h 2180047"/>
                  <a:gd name="connsiteX124" fmla="*/ 1298642 w 2129049"/>
                  <a:gd name="connsiteY124" fmla="*/ 596988 h 2180047"/>
                  <a:gd name="connsiteX125" fmla="*/ 1292154 w 2129049"/>
                  <a:gd name="connsiteY125" fmla="*/ 580800 h 2180047"/>
                  <a:gd name="connsiteX126" fmla="*/ 1285141 w 2129049"/>
                  <a:gd name="connsiteY126" fmla="*/ 579133 h 2180047"/>
                  <a:gd name="connsiteX127" fmla="*/ 1003184 w 2129049"/>
                  <a:gd name="connsiteY127" fmla="*/ 372896 h 2180047"/>
                  <a:gd name="connsiteX128" fmla="*/ 993448 w 2129049"/>
                  <a:gd name="connsiteY128" fmla="*/ 53615 h 2180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2129049" h="2180047">
                    <a:moveTo>
                      <a:pt x="1222186" y="1839320"/>
                    </a:moveTo>
                    <a:cubicBezTo>
                      <a:pt x="1222186" y="1839320"/>
                      <a:pt x="1217322" y="1840010"/>
                      <a:pt x="1208400" y="1841119"/>
                    </a:cubicBezTo>
                    <a:lnTo>
                      <a:pt x="1186099" y="1843640"/>
                    </a:lnTo>
                    <a:lnTo>
                      <a:pt x="1188379" y="1844841"/>
                    </a:lnTo>
                    <a:cubicBezTo>
                      <a:pt x="1208837" y="1862152"/>
                      <a:pt x="1227939" y="1892644"/>
                      <a:pt x="1243194" y="1939957"/>
                    </a:cubicBezTo>
                    <a:cubicBezTo>
                      <a:pt x="1232936" y="1903158"/>
                      <a:pt x="1226723" y="1874737"/>
                      <a:pt x="1223702" y="1853174"/>
                    </a:cubicBezTo>
                    <a:lnTo>
                      <a:pt x="1222569" y="1839342"/>
                    </a:lnTo>
                    <a:close/>
                    <a:moveTo>
                      <a:pt x="441891" y="1746105"/>
                    </a:moveTo>
                    <a:lnTo>
                      <a:pt x="450977" y="1757606"/>
                    </a:lnTo>
                    <a:cubicBezTo>
                      <a:pt x="523579" y="1840277"/>
                      <a:pt x="612111" y="1915885"/>
                      <a:pt x="707370" y="1976776"/>
                    </a:cubicBezTo>
                    <a:lnTo>
                      <a:pt x="766453" y="2010648"/>
                    </a:lnTo>
                    <a:lnTo>
                      <a:pt x="831225" y="2015356"/>
                    </a:lnTo>
                    <a:cubicBezTo>
                      <a:pt x="884464" y="2017808"/>
                      <a:pt x="942877" y="2017788"/>
                      <a:pt x="999836" y="2014732"/>
                    </a:cubicBezTo>
                    <a:lnTo>
                      <a:pt x="1033552" y="2011934"/>
                    </a:lnTo>
                    <a:lnTo>
                      <a:pt x="1030508" y="1991231"/>
                    </a:lnTo>
                    <a:cubicBezTo>
                      <a:pt x="1029673" y="1945751"/>
                      <a:pt x="1045399" y="1901238"/>
                      <a:pt x="1069280" y="1869985"/>
                    </a:cubicBezTo>
                    <a:lnTo>
                      <a:pt x="1086998" y="1852207"/>
                    </a:lnTo>
                    <a:lnTo>
                      <a:pt x="1040249" y="1855089"/>
                    </a:lnTo>
                    <a:cubicBezTo>
                      <a:pt x="936134" y="1859819"/>
                      <a:pt x="805728" y="1858242"/>
                      <a:pt x="700561" y="1833012"/>
                    </a:cubicBezTo>
                    <a:cubicBezTo>
                      <a:pt x="607620" y="1810016"/>
                      <a:pt x="515887" y="1776557"/>
                      <a:pt x="442094" y="1746192"/>
                    </a:cubicBezTo>
                    <a:close/>
                    <a:moveTo>
                      <a:pt x="1059954" y="1504433"/>
                    </a:moveTo>
                    <a:lnTo>
                      <a:pt x="1137935" y="1553560"/>
                    </a:lnTo>
                    <a:cubicBezTo>
                      <a:pt x="1171787" y="1572701"/>
                      <a:pt x="1204817" y="1588620"/>
                      <a:pt x="1232714" y="1597039"/>
                    </a:cubicBezTo>
                    <a:cubicBezTo>
                      <a:pt x="1361148" y="1634927"/>
                      <a:pt x="1457999" y="1643347"/>
                      <a:pt x="1498003" y="1620193"/>
                    </a:cubicBezTo>
                    <a:cubicBezTo>
                      <a:pt x="1498003" y="1620193"/>
                      <a:pt x="1462210" y="1649661"/>
                      <a:pt x="1417995" y="1660186"/>
                    </a:cubicBezTo>
                    <a:cubicBezTo>
                      <a:pt x="1373780" y="1668605"/>
                      <a:pt x="1319038" y="1668605"/>
                      <a:pt x="1260085" y="1660186"/>
                    </a:cubicBezTo>
                    <a:cubicBezTo>
                      <a:pt x="1230609" y="1655976"/>
                      <a:pt x="1166918" y="1647556"/>
                      <a:pt x="1110597" y="1640189"/>
                    </a:cubicBezTo>
                    <a:lnTo>
                      <a:pt x="1099046" y="1638682"/>
                    </a:lnTo>
                    <a:close/>
                    <a:moveTo>
                      <a:pt x="251840" y="316333"/>
                    </a:moveTo>
                    <a:lnTo>
                      <a:pt x="246796" y="329846"/>
                    </a:lnTo>
                    <a:cubicBezTo>
                      <a:pt x="205006" y="446862"/>
                      <a:pt x="162954" y="588333"/>
                      <a:pt x="161902" y="686152"/>
                    </a:cubicBezTo>
                    <a:lnTo>
                      <a:pt x="163319" y="765157"/>
                    </a:lnTo>
                    <a:lnTo>
                      <a:pt x="168120" y="772124"/>
                    </a:lnTo>
                    <a:cubicBezTo>
                      <a:pt x="237177" y="866056"/>
                      <a:pt x="334563" y="972605"/>
                      <a:pt x="462568" y="1054574"/>
                    </a:cubicBezTo>
                    <a:cubicBezTo>
                      <a:pt x="755152" y="1239827"/>
                      <a:pt x="1083519" y="1296666"/>
                      <a:pt x="1083519" y="1296666"/>
                    </a:cubicBezTo>
                    <a:cubicBezTo>
                      <a:pt x="1112988" y="1212460"/>
                      <a:pt x="1112988" y="1212460"/>
                      <a:pt x="1112988" y="1212460"/>
                    </a:cubicBezTo>
                    <a:cubicBezTo>
                      <a:pt x="1112988" y="1212460"/>
                      <a:pt x="1058260" y="1208250"/>
                      <a:pt x="635171" y="913528"/>
                    </a:cubicBezTo>
                    <a:cubicBezTo>
                      <a:pt x="372057" y="730643"/>
                      <a:pt x="286544" y="495129"/>
                      <a:pt x="256327" y="344726"/>
                    </a:cubicBezTo>
                    <a:close/>
                    <a:moveTo>
                      <a:pt x="203697" y="216555"/>
                    </a:moveTo>
                    <a:lnTo>
                      <a:pt x="195507" y="224152"/>
                    </a:lnTo>
                    <a:cubicBezTo>
                      <a:pt x="181433" y="239566"/>
                      <a:pt x="166968" y="259629"/>
                      <a:pt x="153435" y="280530"/>
                    </a:cubicBezTo>
                    <a:lnTo>
                      <a:pt x="119142" y="338248"/>
                    </a:lnTo>
                    <a:lnTo>
                      <a:pt x="162420" y="270250"/>
                    </a:lnTo>
                    <a:cubicBezTo>
                      <a:pt x="176342" y="250442"/>
                      <a:pt x="189335" y="233719"/>
                      <a:pt x="200473" y="220227"/>
                    </a:cubicBezTo>
                    <a:close/>
                    <a:moveTo>
                      <a:pt x="545326" y="37476"/>
                    </a:moveTo>
                    <a:lnTo>
                      <a:pt x="541800" y="40991"/>
                    </a:lnTo>
                    <a:cubicBezTo>
                      <a:pt x="538494" y="44318"/>
                      <a:pt x="536701" y="46149"/>
                      <a:pt x="536701" y="46149"/>
                    </a:cubicBezTo>
                    <a:cubicBezTo>
                      <a:pt x="536701" y="131636"/>
                      <a:pt x="760164" y="665826"/>
                      <a:pt x="940947" y="939893"/>
                    </a:cubicBezTo>
                    <a:lnTo>
                      <a:pt x="978333" y="993267"/>
                    </a:lnTo>
                    <a:lnTo>
                      <a:pt x="1095859" y="1039243"/>
                    </a:lnTo>
                    <a:lnTo>
                      <a:pt x="1131484" y="1124187"/>
                    </a:lnTo>
                    <a:lnTo>
                      <a:pt x="1146506" y="1133109"/>
                    </a:lnTo>
                    <a:lnTo>
                      <a:pt x="1148541" y="1133748"/>
                    </a:lnTo>
                    <a:lnTo>
                      <a:pt x="1141842" y="1144915"/>
                    </a:lnTo>
                    <a:lnTo>
                      <a:pt x="1141505" y="1145660"/>
                    </a:lnTo>
                    <a:lnTo>
                      <a:pt x="1187973" y="1232630"/>
                    </a:lnTo>
                    <a:cubicBezTo>
                      <a:pt x="1223766" y="1293409"/>
                      <a:pt x="1261138" y="1345505"/>
                      <a:pt x="1289562" y="1373921"/>
                    </a:cubicBezTo>
                    <a:cubicBezTo>
                      <a:pt x="1344304" y="1428648"/>
                      <a:pt x="1426417" y="1496004"/>
                      <a:pt x="1531690" y="1481270"/>
                    </a:cubicBezTo>
                    <a:cubicBezTo>
                      <a:pt x="1531690" y="1481270"/>
                      <a:pt x="1476948" y="1504424"/>
                      <a:pt x="1426417" y="1496004"/>
                    </a:cubicBezTo>
                    <a:cubicBezTo>
                      <a:pt x="1377991" y="1485480"/>
                      <a:pt x="1245347" y="1456011"/>
                      <a:pt x="1194816" y="1399179"/>
                    </a:cubicBezTo>
                    <a:cubicBezTo>
                      <a:pt x="1182709" y="1384971"/>
                      <a:pt x="1165076" y="1364054"/>
                      <a:pt x="1145436" y="1340670"/>
                    </a:cubicBezTo>
                    <a:lnTo>
                      <a:pt x="1091189" y="1275923"/>
                    </a:lnTo>
                    <a:lnTo>
                      <a:pt x="1064249" y="1369079"/>
                    </a:lnTo>
                    <a:cubicBezTo>
                      <a:pt x="1054868" y="1409695"/>
                      <a:pt x="1048279" y="1449238"/>
                      <a:pt x="1046007" y="1483657"/>
                    </a:cubicBezTo>
                    <a:lnTo>
                      <a:pt x="1046013" y="1495461"/>
                    </a:lnTo>
                    <a:lnTo>
                      <a:pt x="1012870" y="1487283"/>
                    </a:lnTo>
                    <a:cubicBezTo>
                      <a:pt x="926987" y="1465792"/>
                      <a:pt x="733725" y="1415316"/>
                      <a:pt x="561761" y="1355377"/>
                    </a:cubicBezTo>
                    <a:cubicBezTo>
                      <a:pt x="461449" y="1320412"/>
                      <a:pt x="345032" y="1242374"/>
                      <a:pt x="245802" y="1165644"/>
                    </a:cubicBezTo>
                    <a:lnTo>
                      <a:pt x="203985" y="1132152"/>
                    </a:lnTo>
                    <a:lnTo>
                      <a:pt x="234345" y="1297625"/>
                    </a:lnTo>
                    <a:cubicBezTo>
                      <a:pt x="242410" y="1333469"/>
                      <a:pt x="251108" y="1368352"/>
                      <a:pt x="260418" y="1401636"/>
                    </a:cubicBezTo>
                    <a:lnTo>
                      <a:pt x="276086" y="1451374"/>
                    </a:lnTo>
                    <a:lnTo>
                      <a:pt x="305709" y="1466895"/>
                    </a:lnTo>
                    <a:cubicBezTo>
                      <a:pt x="373741" y="1500727"/>
                      <a:pt x="458919" y="1537496"/>
                      <a:pt x="561761" y="1572001"/>
                    </a:cubicBezTo>
                    <a:cubicBezTo>
                      <a:pt x="875187" y="1675055"/>
                      <a:pt x="1106575" y="1664539"/>
                      <a:pt x="1106575" y="1664539"/>
                    </a:cubicBezTo>
                    <a:lnTo>
                      <a:pt x="1106413" y="1663981"/>
                    </a:lnTo>
                    <a:lnTo>
                      <a:pt x="1109394" y="1669032"/>
                    </a:lnTo>
                    <a:lnTo>
                      <a:pt x="1145872" y="1724864"/>
                    </a:lnTo>
                    <a:lnTo>
                      <a:pt x="1151390" y="1728726"/>
                    </a:lnTo>
                    <a:cubicBezTo>
                      <a:pt x="1204685" y="1766022"/>
                      <a:pt x="1231333" y="1784670"/>
                      <a:pt x="1244657" y="1793994"/>
                    </a:cubicBezTo>
                    <a:lnTo>
                      <a:pt x="1255282" y="1801430"/>
                    </a:lnTo>
                    <a:lnTo>
                      <a:pt x="1259765" y="1803273"/>
                    </a:lnTo>
                    <a:lnTo>
                      <a:pt x="1262425" y="1805592"/>
                    </a:lnTo>
                    <a:lnTo>
                      <a:pt x="1274330" y="1811179"/>
                    </a:lnTo>
                    <a:cubicBezTo>
                      <a:pt x="1306011" y="1825288"/>
                      <a:pt x="1380623" y="1853310"/>
                      <a:pt x="1470632" y="1851731"/>
                    </a:cubicBezTo>
                    <a:cubicBezTo>
                      <a:pt x="1470632" y="1851731"/>
                      <a:pt x="1375886" y="1881199"/>
                      <a:pt x="1337987" y="1879094"/>
                    </a:cubicBezTo>
                    <a:lnTo>
                      <a:pt x="1331095" y="1878426"/>
                    </a:lnTo>
                    <a:lnTo>
                      <a:pt x="1337882" y="1887387"/>
                    </a:lnTo>
                    <a:cubicBezTo>
                      <a:pt x="1419945" y="2013557"/>
                      <a:pt x="2129049" y="1929443"/>
                      <a:pt x="2129049" y="1929443"/>
                    </a:cubicBezTo>
                    <a:cubicBezTo>
                      <a:pt x="2129049" y="1929443"/>
                      <a:pt x="2129049" y="1929443"/>
                      <a:pt x="1413632" y="2169166"/>
                    </a:cubicBezTo>
                    <a:cubicBezTo>
                      <a:pt x="1372338" y="2174818"/>
                      <a:pt x="1335063" y="2177389"/>
                      <a:pt x="1301496" y="2177335"/>
                    </a:cubicBezTo>
                    <a:lnTo>
                      <a:pt x="1281595" y="2175656"/>
                    </a:lnTo>
                    <a:lnTo>
                      <a:pt x="1272759" y="2177928"/>
                    </a:lnTo>
                    <a:cubicBezTo>
                      <a:pt x="1225811" y="2184118"/>
                      <a:pt x="1152027" y="2176826"/>
                      <a:pt x="1063402" y="2155016"/>
                    </a:cubicBezTo>
                    <a:lnTo>
                      <a:pt x="994039" y="2133739"/>
                    </a:lnTo>
                    <a:lnTo>
                      <a:pt x="954380" y="2125140"/>
                    </a:lnTo>
                    <a:cubicBezTo>
                      <a:pt x="795130" y="2082053"/>
                      <a:pt x="625466" y="1978945"/>
                      <a:pt x="485181" y="1869194"/>
                    </a:cubicBezTo>
                    <a:lnTo>
                      <a:pt x="424111" y="1817746"/>
                    </a:lnTo>
                    <a:lnTo>
                      <a:pt x="407264" y="1804650"/>
                    </a:lnTo>
                    <a:lnTo>
                      <a:pt x="400242" y="1797638"/>
                    </a:lnTo>
                    <a:lnTo>
                      <a:pt x="373060" y="1774739"/>
                    </a:lnTo>
                    <a:cubicBezTo>
                      <a:pt x="269990" y="1681147"/>
                      <a:pt x="196858" y="1593878"/>
                      <a:pt x="178723" y="1546546"/>
                    </a:cubicBezTo>
                    <a:cubicBezTo>
                      <a:pt x="92516" y="1378254"/>
                      <a:pt x="0" y="1054291"/>
                      <a:pt x="0" y="780817"/>
                    </a:cubicBezTo>
                    <a:cubicBezTo>
                      <a:pt x="0" y="639609"/>
                      <a:pt x="33412" y="519701"/>
                      <a:pt x="75177" y="424975"/>
                    </a:cubicBezTo>
                    <a:lnTo>
                      <a:pt x="118668" y="339046"/>
                    </a:lnTo>
                    <a:lnTo>
                      <a:pt x="116953" y="341932"/>
                    </a:lnTo>
                    <a:cubicBezTo>
                      <a:pt x="106605" y="360695"/>
                      <a:pt x="98512" y="376484"/>
                      <a:pt x="93993" y="385485"/>
                    </a:cubicBezTo>
                    <a:lnTo>
                      <a:pt x="93509" y="386464"/>
                    </a:lnTo>
                    <a:lnTo>
                      <a:pt x="95671" y="380966"/>
                    </a:lnTo>
                    <a:cubicBezTo>
                      <a:pt x="123713" y="321057"/>
                      <a:pt x="154747" y="273315"/>
                      <a:pt x="182624" y="235436"/>
                    </a:cubicBezTo>
                    <a:cubicBezTo>
                      <a:pt x="241010" y="154155"/>
                      <a:pt x="355019" y="96548"/>
                      <a:pt x="478385" y="56179"/>
                    </a:cubicBezTo>
                    <a:close/>
                    <a:moveTo>
                      <a:pt x="999928" y="0"/>
                    </a:moveTo>
                    <a:lnTo>
                      <a:pt x="1676449" y="525838"/>
                    </a:lnTo>
                    <a:cubicBezTo>
                      <a:pt x="1676449" y="525838"/>
                      <a:pt x="1594394" y="780465"/>
                      <a:pt x="1579666" y="999319"/>
                    </a:cubicBezTo>
                    <a:cubicBezTo>
                      <a:pt x="1570461" y="1136103"/>
                      <a:pt x="1517697" y="1165202"/>
                      <a:pt x="1467605" y="1154947"/>
                    </a:cubicBezTo>
                    <a:lnTo>
                      <a:pt x="1464597" y="1153889"/>
                    </a:lnTo>
                    <a:lnTo>
                      <a:pt x="1452025" y="1125910"/>
                    </a:lnTo>
                    <a:cubicBezTo>
                      <a:pt x="1443951" y="1107940"/>
                      <a:pt x="1434013" y="1085824"/>
                      <a:pt x="1421781" y="1058603"/>
                    </a:cubicBezTo>
                    <a:cubicBezTo>
                      <a:pt x="1421781" y="1058603"/>
                      <a:pt x="1360757" y="999691"/>
                      <a:pt x="1327088" y="961820"/>
                    </a:cubicBezTo>
                    <a:lnTo>
                      <a:pt x="1304643" y="931982"/>
                    </a:lnTo>
                    <a:lnTo>
                      <a:pt x="1303076" y="929526"/>
                    </a:lnTo>
                    <a:cubicBezTo>
                      <a:pt x="1268667" y="875590"/>
                      <a:pt x="1268667" y="875590"/>
                      <a:pt x="1268667" y="875590"/>
                    </a:cubicBezTo>
                    <a:cubicBezTo>
                      <a:pt x="1268667" y="875590"/>
                      <a:pt x="1236457" y="743498"/>
                      <a:pt x="1300274" y="628723"/>
                    </a:cubicBezTo>
                    <a:lnTo>
                      <a:pt x="1307563" y="618378"/>
                    </a:lnTo>
                    <a:lnTo>
                      <a:pt x="1298642" y="596988"/>
                    </a:lnTo>
                    <a:lnTo>
                      <a:pt x="1292154" y="580800"/>
                    </a:lnTo>
                    <a:lnTo>
                      <a:pt x="1285141" y="579133"/>
                    </a:lnTo>
                    <a:cubicBezTo>
                      <a:pt x="1217808" y="547566"/>
                      <a:pt x="1022122" y="492850"/>
                      <a:pt x="1003184" y="372896"/>
                    </a:cubicBezTo>
                    <a:cubicBezTo>
                      <a:pt x="992533" y="305422"/>
                      <a:pt x="984544" y="180018"/>
                      <a:pt x="993448" y="53615"/>
                    </a:cubicBezTo>
                    <a:close/>
                  </a:path>
                </a:pathLst>
              </a:custGeom>
              <a:solidFill>
                <a:srgbClr val="FAED22"/>
              </a:solidFill>
              <a:ln w="3175" cap="flat">
                <a:solidFill>
                  <a:schemeClr val="tx1"/>
                </a:solidFill>
                <a:prstDash val="solid"/>
                <a:miter lim="800000"/>
                <a:headEnd/>
                <a:tailEnd/>
              </a:ln>
            </p:spPr>
            <p:txBody>
              <a:bodyPr vert="horz" wrap="square" lIns="89642" tIns="44821" rIns="89642" bIns="44821" numCol="1" anchor="t" anchorCtr="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000000"/>
                  </a:solidFill>
                  <a:effectLst/>
                  <a:uLnTx/>
                  <a:uFillTx/>
                </a:endParaRPr>
              </a:p>
            </p:txBody>
          </p:sp>
          <p:sp>
            <p:nvSpPr>
              <p:cNvPr id="9" name="Freeform 8"/>
              <p:cNvSpPr>
                <a:spLocks/>
              </p:cNvSpPr>
              <p:nvPr/>
            </p:nvSpPr>
            <p:spPr bwMode="auto">
              <a:xfrm>
                <a:off x="1058398" y="3354141"/>
                <a:ext cx="533724" cy="414349"/>
              </a:xfrm>
              <a:custGeom>
                <a:avLst/>
                <a:gdLst>
                  <a:gd name="connsiteX0" fmla="*/ 3283994 w 3907177"/>
                  <a:gd name="connsiteY0" fmla="*/ 2199606 h 3033282"/>
                  <a:gd name="connsiteX1" fmla="*/ 3216771 w 3907177"/>
                  <a:gd name="connsiteY1" fmla="*/ 2237508 h 3033282"/>
                  <a:gd name="connsiteX2" fmla="*/ 3176070 w 3907177"/>
                  <a:gd name="connsiteY2" fmla="*/ 2287254 h 3033282"/>
                  <a:gd name="connsiteX3" fmla="*/ 3157902 w 3907177"/>
                  <a:gd name="connsiteY3" fmla="*/ 2304911 h 3033282"/>
                  <a:gd name="connsiteX4" fmla="*/ 3148728 w 3907177"/>
                  <a:gd name="connsiteY4" fmla="*/ 2311436 h 3033282"/>
                  <a:gd name="connsiteX5" fmla="*/ 3136944 w 3907177"/>
                  <a:gd name="connsiteY5" fmla="*/ 2319628 h 3033282"/>
                  <a:gd name="connsiteX6" fmla="*/ 3154439 w 3907177"/>
                  <a:gd name="connsiteY6" fmla="*/ 2308277 h 3033282"/>
                  <a:gd name="connsiteX7" fmla="*/ 3157902 w 3907177"/>
                  <a:gd name="connsiteY7" fmla="*/ 2304911 h 3033282"/>
                  <a:gd name="connsiteX8" fmla="*/ 3176070 w 3907177"/>
                  <a:gd name="connsiteY8" fmla="*/ 2291992 h 3033282"/>
                  <a:gd name="connsiteX9" fmla="*/ 3229375 w 3907177"/>
                  <a:gd name="connsiteY9" fmla="*/ 2250142 h 3033282"/>
                  <a:gd name="connsiteX10" fmla="*/ 3317605 w 3907177"/>
                  <a:gd name="connsiteY10" fmla="*/ 2231191 h 3033282"/>
                  <a:gd name="connsiteX11" fmla="*/ 3378755 w 3907177"/>
                  <a:gd name="connsiteY11" fmla="*/ 2245404 h 3033282"/>
                  <a:gd name="connsiteX12" fmla="*/ 3382808 w 3907177"/>
                  <a:gd name="connsiteY12" fmla="*/ 2247161 h 3033282"/>
                  <a:gd name="connsiteX13" fmla="*/ 3351550 w 3907177"/>
                  <a:gd name="connsiteY13" fmla="*/ 2248260 h 3033282"/>
                  <a:gd name="connsiteX14" fmla="*/ 3315694 w 3907177"/>
                  <a:gd name="connsiteY14" fmla="*/ 2268558 h 3033282"/>
                  <a:gd name="connsiteX15" fmla="*/ 3248262 w 3907177"/>
                  <a:gd name="connsiteY15" fmla="*/ 2369622 h 3033282"/>
                  <a:gd name="connsiteX16" fmla="*/ 3195581 w 3907177"/>
                  <a:gd name="connsiteY16" fmla="*/ 2443314 h 3033282"/>
                  <a:gd name="connsiteX17" fmla="*/ 3288300 w 3907177"/>
                  <a:gd name="connsiteY17" fmla="*/ 2346462 h 3033282"/>
                  <a:gd name="connsiteX18" fmla="*/ 3334660 w 3907177"/>
                  <a:gd name="connsiteY18" fmla="*/ 2295930 h 3033282"/>
                  <a:gd name="connsiteX19" fmla="*/ 3404199 w 3907177"/>
                  <a:gd name="connsiteY19" fmla="*/ 2281191 h 3033282"/>
                  <a:gd name="connsiteX20" fmla="*/ 3442129 w 3907177"/>
                  <a:gd name="connsiteY20" fmla="*/ 2291719 h 3033282"/>
                  <a:gd name="connsiteX21" fmla="*/ 3448451 w 3907177"/>
                  <a:gd name="connsiteY21" fmla="*/ 2258031 h 3033282"/>
                  <a:gd name="connsiteX22" fmla="*/ 3432746 w 3907177"/>
                  <a:gd name="connsiteY22" fmla="*/ 2253458 h 3033282"/>
                  <a:gd name="connsiteX23" fmla="*/ 3399309 w 3907177"/>
                  <a:gd name="connsiteY23" fmla="*/ 2247403 h 3033282"/>
                  <a:gd name="connsiteX24" fmla="*/ 3406885 w 3907177"/>
                  <a:gd name="connsiteY24" fmla="*/ 2246720 h 3033282"/>
                  <a:gd name="connsiteX25" fmla="*/ 3422640 w 3907177"/>
                  <a:gd name="connsiteY25" fmla="*/ 2231191 h 3033282"/>
                  <a:gd name="connsiteX26" fmla="*/ 3370122 w 3907177"/>
                  <a:gd name="connsiteY26" fmla="*/ 2208029 h 3033282"/>
                  <a:gd name="connsiteX27" fmla="*/ 3283994 w 3907177"/>
                  <a:gd name="connsiteY27" fmla="*/ 2199606 h 3033282"/>
                  <a:gd name="connsiteX28" fmla="*/ 3868985 w 3907177"/>
                  <a:gd name="connsiteY28" fmla="*/ 2136388 h 3033282"/>
                  <a:gd name="connsiteX29" fmla="*/ 3734396 w 3907177"/>
                  <a:gd name="connsiteY29" fmla="*/ 2199444 h 3033282"/>
                  <a:gd name="connsiteX30" fmla="*/ 3559852 w 3907177"/>
                  <a:gd name="connsiteY30" fmla="*/ 2182629 h 3033282"/>
                  <a:gd name="connsiteX31" fmla="*/ 3641867 w 3907177"/>
                  <a:gd name="connsiteY31" fmla="*/ 2241481 h 3033282"/>
                  <a:gd name="connsiteX32" fmla="*/ 3702852 w 3907177"/>
                  <a:gd name="connsiteY32" fmla="*/ 2239379 h 3033282"/>
                  <a:gd name="connsiteX33" fmla="*/ 3831132 w 3907177"/>
                  <a:gd name="connsiteY33" fmla="*/ 2178425 h 3033282"/>
                  <a:gd name="connsiteX34" fmla="*/ 3868985 w 3907177"/>
                  <a:gd name="connsiteY34" fmla="*/ 2136388 h 3033282"/>
                  <a:gd name="connsiteX35" fmla="*/ 3385344 w 3907177"/>
                  <a:gd name="connsiteY35" fmla="*/ 2089937 h 3033282"/>
                  <a:gd name="connsiteX36" fmla="*/ 3403807 w 3907177"/>
                  <a:gd name="connsiteY36" fmla="*/ 2092045 h 3033282"/>
                  <a:gd name="connsiteX37" fmla="*/ 3420687 w 3907177"/>
                  <a:gd name="connsiteY37" fmla="*/ 2119439 h 3033282"/>
                  <a:gd name="connsiteX38" fmla="*/ 3410137 w 3907177"/>
                  <a:gd name="connsiteY38" fmla="*/ 2151048 h 3033282"/>
                  <a:gd name="connsiteX39" fmla="*/ 3380596 w 3907177"/>
                  <a:gd name="connsiteY39" fmla="*/ 2144726 h 3033282"/>
                  <a:gd name="connsiteX40" fmla="*/ 3353166 w 3907177"/>
                  <a:gd name="connsiteY40" fmla="*/ 2146834 h 3033282"/>
                  <a:gd name="connsiteX41" fmla="*/ 3353166 w 3907177"/>
                  <a:gd name="connsiteY41" fmla="*/ 2113117 h 3033282"/>
                  <a:gd name="connsiteX42" fmla="*/ 3370046 w 3907177"/>
                  <a:gd name="connsiteY42" fmla="*/ 2094152 h 3033282"/>
                  <a:gd name="connsiteX43" fmla="*/ 3385344 w 3907177"/>
                  <a:gd name="connsiteY43" fmla="*/ 2089937 h 3033282"/>
                  <a:gd name="connsiteX44" fmla="*/ 2921466 w 3907177"/>
                  <a:gd name="connsiteY44" fmla="*/ 1940074 h 3033282"/>
                  <a:gd name="connsiteX45" fmla="*/ 2876044 w 3907177"/>
                  <a:gd name="connsiteY45" fmla="*/ 1945069 h 3033282"/>
                  <a:gd name="connsiteX46" fmla="*/ 2796228 w 3907177"/>
                  <a:gd name="connsiteY46" fmla="*/ 1980818 h 3033282"/>
                  <a:gd name="connsiteX47" fmla="*/ 2716411 w 3907177"/>
                  <a:gd name="connsiteY47" fmla="*/ 2018670 h 3033282"/>
                  <a:gd name="connsiteX48" fmla="*/ 2773123 w 3907177"/>
                  <a:gd name="connsiteY48" fmla="*/ 2014464 h 3033282"/>
                  <a:gd name="connsiteX49" fmla="*/ 2813031 w 3907177"/>
                  <a:gd name="connsiteY49" fmla="*/ 2008155 h 3033282"/>
                  <a:gd name="connsiteX50" fmla="*/ 2810931 w 3907177"/>
                  <a:gd name="connsiteY50" fmla="*/ 2075448 h 3033282"/>
                  <a:gd name="connsiteX51" fmla="*/ 2825634 w 3907177"/>
                  <a:gd name="connsiteY51" fmla="*/ 2117505 h 3033282"/>
                  <a:gd name="connsiteX52" fmla="*/ 2817232 w 3907177"/>
                  <a:gd name="connsiteY52" fmla="*/ 2123814 h 3033282"/>
                  <a:gd name="connsiteX53" fmla="*/ 2773123 w 3907177"/>
                  <a:gd name="connsiteY53" fmla="*/ 2157460 h 3033282"/>
                  <a:gd name="connsiteX54" fmla="*/ 2848738 w 3907177"/>
                  <a:gd name="connsiteY54" fmla="*/ 2125917 h 3033282"/>
                  <a:gd name="connsiteX55" fmla="*/ 2941157 w 3907177"/>
                  <a:gd name="connsiteY55" fmla="*/ 2104888 h 3033282"/>
                  <a:gd name="connsiteX56" fmla="*/ 3111292 w 3907177"/>
                  <a:gd name="connsiteY56" fmla="*/ 2106991 h 3033282"/>
                  <a:gd name="connsiteX57" fmla="*/ 3056681 w 3907177"/>
                  <a:gd name="connsiteY57" fmla="*/ 2085962 h 3033282"/>
                  <a:gd name="connsiteX58" fmla="*/ 3016773 w 3907177"/>
                  <a:gd name="connsiteY58" fmla="*/ 2081756 h 3033282"/>
                  <a:gd name="connsiteX59" fmla="*/ 3023074 w 3907177"/>
                  <a:gd name="connsiteY59" fmla="*/ 2027081 h 3033282"/>
                  <a:gd name="connsiteX60" fmla="*/ 2995769 w 3907177"/>
                  <a:gd name="connsiteY60" fmla="*/ 1970303 h 3033282"/>
                  <a:gd name="connsiteX61" fmla="*/ 3018873 w 3907177"/>
                  <a:gd name="connsiteY61" fmla="*/ 1966098 h 3033282"/>
                  <a:gd name="connsiteX62" fmla="*/ 3065083 w 3907177"/>
                  <a:gd name="connsiteY62" fmla="*/ 1957686 h 3033282"/>
                  <a:gd name="connsiteX63" fmla="*/ 2968463 w 3907177"/>
                  <a:gd name="connsiteY63" fmla="*/ 1942966 h 3033282"/>
                  <a:gd name="connsiteX64" fmla="*/ 2921466 w 3907177"/>
                  <a:gd name="connsiteY64" fmla="*/ 1940074 h 3033282"/>
                  <a:gd name="connsiteX65" fmla="*/ 2882143 w 3907177"/>
                  <a:gd name="connsiteY65" fmla="*/ 1689578 h 3033282"/>
                  <a:gd name="connsiteX66" fmla="*/ 2779009 w 3907177"/>
                  <a:gd name="connsiteY66" fmla="*/ 1700880 h 3033282"/>
                  <a:gd name="connsiteX67" fmla="*/ 2720075 w 3907177"/>
                  <a:gd name="connsiteY67" fmla="*/ 1810222 h 3033282"/>
                  <a:gd name="connsiteX68" fmla="*/ 2806371 w 3907177"/>
                  <a:gd name="connsiteY68" fmla="*/ 1730318 h 3033282"/>
                  <a:gd name="connsiteX69" fmla="*/ 2953705 w 3907177"/>
                  <a:gd name="connsiteY69" fmla="*/ 1692469 h 3033282"/>
                  <a:gd name="connsiteX70" fmla="*/ 2882143 w 3907177"/>
                  <a:gd name="connsiteY70" fmla="*/ 1689578 h 3033282"/>
                  <a:gd name="connsiteX71" fmla="*/ 2751741 w 3907177"/>
                  <a:gd name="connsiteY71" fmla="*/ 1152523 h 3033282"/>
                  <a:gd name="connsiteX72" fmla="*/ 2752273 w 3907177"/>
                  <a:gd name="connsiteY72" fmla="*/ 1154187 h 3033282"/>
                  <a:gd name="connsiteX73" fmla="*/ 2764036 w 3907177"/>
                  <a:gd name="connsiteY73" fmla="*/ 1192874 h 3033282"/>
                  <a:gd name="connsiteX74" fmla="*/ 2787833 w 3907177"/>
                  <a:gd name="connsiteY74" fmla="*/ 1274009 h 3033282"/>
                  <a:gd name="connsiteX75" fmla="*/ 2819472 w 3907177"/>
                  <a:gd name="connsiteY75" fmla="*/ 1283014 h 3033282"/>
                  <a:gd name="connsiteX76" fmla="*/ 2820261 w 3907177"/>
                  <a:gd name="connsiteY76" fmla="*/ 1283258 h 3033282"/>
                  <a:gd name="connsiteX77" fmla="*/ 2825890 w 3907177"/>
                  <a:gd name="connsiteY77" fmla="*/ 1283302 h 3033282"/>
                  <a:gd name="connsiteX78" fmla="*/ 2903747 w 3907177"/>
                  <a:gd name="connsiteY78" fmla="*/ 1291542 h 3033282"/>
                  <a:gd name="connsiteX79" fmla="*/ 2899550 w 3907177"/>
                  <a:gd name="connsiteY79" fmla="*/ 1288295 h 3033282"/>
                  <a:gd name="connsiteX80" fmla="*/ 2806596 w 3907177"/>
                  <a:gd name="connsiteY80" fmla="*/ 1216396 h 3033282"/>
                  <a:gd name="connsiteX81" fmla="*/ 2775061 w 3907177"/>
                  <a:gd name="connsiteY81" fmla="*/ 1179930 h 3033282"/>
                  <a:gd name="connsiteX82" fmla="*/ 1695768 w 3907177"/>
                  <a:gd name="connsiteY82" fmla="*/ 862876 h 3033282"/>
                  <a:gd name="connsiteX83" fmla="*/ 2078780 w 3907177"/>
                  <a:gd name="connsiteY83" fmla="*/ 919680 h 3033282"/>
                  <a:gd name="connsiteX84" fmla="*/ 2177689 w 3907177"/>
                  <a:gd name="connsiteY84" fmla="*/ 938615 h 3033282"/>
                  <a:gd name="connsiteX85" fmla="*/ 2274495 w 3907177"/>
                  <a:gd name="connsiteY85" fmla="*/ 997523 h 3033282"/>
                  <a:gd name="connsiteX86" fmla="*/ 2192421 w 3907177"/>
                  <a:gd name="connsiteY86" fmla="*/ 984900 h 3033282"/>
                  <a:gd name="connsiteX87" fmla="*/ 2082989 w 3907177"/>
                  <a:gd name="connsiteY87" fmla="*/ 1031185 h 3033282"/>
                  <a:gd name="connsiteX88" fmla="*/ 2013542 w 3907177"/>
                  <a:gd name="connsiteY88" fmla="*/ 1064846 h 3033282"/>
                  <a:gd name="connsiteX89" fmla="*/ 2177689 w 3907177"/>
                  <a:gd name="connsiteY89" fmla="*/ 1060639 h 3033282"/>
                  <a:gd name="connsiteX90" fmla="*/ 2320793 w 3907177"/>
                  <a:gd name="connsiteY90" fmla="*/ 1102716 h 3033282"/>
                  <a:gd name="connsiteX91" fmla="*/ 2402867 w 3907177"/>
                  <a:gd name="connsiteY91" fmla="*/ 1193182 h 3033282"/>
                  <a:gd name="connsiteX92" fmla="*/ 2477977 w 3907177"/>
                  <a:gd name="connsiteY92" fmla="*/ 1304520 h 3033282"/>
                  <a:gd name="connsiteX93" fmla="*/ 2495231 w 3907177"/>
                  <a:gd name="connsiteY93" fmla="*/ 1302276 h 3033282"/>
                  <a:gd name="connsiteX94" fmla="*/ 2479203 w 3907177"/>
                  <a:gd name="connsiteY94" fmla="*/ 1263722 h 3033282"/>
                  <a:gd name="connsiteX95" fmla="*/ 2352360 w 3907177"/>
                  <a:gd name="connsiteY95" fmla="*/ 974380 h 3033282"/>
                  <a:gd name="connsiteX96" fmla="*/ 2194525 w 3907177"/>
                  <a:gd name="connsiteY96" fmla="*/ 875499 h 3033282"/>
                  <a:gd name="connsiteX97" fmla="*/ 1695768 w 3907177"/>
                  <a:gd name="connsiteY97" fmla="*/ 862876 h 3033282"/>
                  <a:gd name="connsiteX98" fmla="*/ 2884074 w 3907177"/>
                  <a:gd name="connsiteY98" fmla="*/ 435929 h 3033282"/>
                  <a:gd name="connsiteX99" fmla="*/ 2987291 w 3907177"/>
                  <a:gd name="connsiteY99" fmla="*/ 631716 h 3033282"/>
                  <a:gd name="connsiteX100" fmla="*/ 3130531 w 3907177"/>
                  <a:gd name="connsiteY100" fmla="*/ 1008552 h 3033282"/>
                  <a:gd name="connsiteX101" fmla="*/ 3063124 w 3907177"/>
                  <a:gd name="connsiteY101" fmla="*/ 682241 h 3033282"/>
                  <a:gd name="connsiteX102" fmla="*/ 2970440 w 3907177"/>
                  <a:gd name="connsiteY102" fmla="*/ 520138 h 3033282"/>
                  <a:gd name="connsiteX103" fmla="*/ 2884074 w 3907177"/>
                  <a:gd name="connsiteY103" fmla="*/ 435929 h 3033282"/>
                  <a:gd name="connsiteX104" fmla="*/ 990408 w 3907177"/>
                  <a:gd name="connsiteY104" fmla="*/ 698 h 3033282"/>
                  <a:gd name="connsiteX105" fmla="*/ 1039550 w 3907177"/>
                  <a:gd name="connsiteY105" fmla="*/ 863 h 3033282"/>
                  <a:gd name="connsiteX106" fmla="*/ 1348803 w 3907177"/>
                  <a:gd name="connsiteY106" fmla="*/ 72387 h 3033282"/>
                  <a:gd name="connsiteX107" fmla="*/ 1737998 w 3907177"/>
                  <a:gd name="connsiteY107" fmla="*/ 232264 h 3033282"/>
                  <a:gd name="connsiteX108" fmla="*/ 2005176 w 3907177"/>
                  <a:gd name="connsiteY108" fmla="*/ 371104 h 3033282"/>
                  <a:gd name="connsiteX109" fmla="*/ 2203455 w 3907177"/>
                  <a:gd name="connsiteY109" fmla="*/ 477601 h 3033282"/>
                  <a:gd name="connsiteX110" fmla="*/ 2296994 w 3907177"/>
                  <a:gd name="connsiteY110" fmla="*/ 530121 h 3033282"/>
                  <a:gd name="connsiteX111" fmla="*/ 2323986 w 3907177"/>
                  <a:gd name="connsiteY111" fmla="*/ 546882 h 3033282"/>
                  <a:gd name="connsiteX112" fmla="*/ 2357160 w 3907177"/>
                  <a:gd name="connsiteY112" fmla="*/ 567482 h 3033282"/>
                  <a:gd name="connsiteX113" fmla="*/ 2404890 w 3907177"/>
                  <a:gd name="connsiteY113" fmla="*/ 598298 h 3033282"/>
                  <a:gd name="connsiteX114" fmla="*/ 2415440 w 3907177"/>
                  <a:gd name="connsiteY114" fmla="*/ 605928 h 3033282"/>
                  <a:gd name="connsiteX115" fmla="*/ 2362991 w 3907177"/>
                  <a:gd name="connsiteY115" fmla="*/ 493093 h 3033282"/>
                  <a:gd name="connsiteX116" fmla="*/ 2329266 w 3907177"/>
                  <a:gd name="connsiteY116" fmla="*/ 483333 h 3033282"/>
                  <a:gd name="connsiteX117" fmla="*/ 2307060 w 3907177"/>
                  <a:gd name="connsiteY117" fmla="*/ 476906 h 3033282"/>
                  <a:gd name="connsiteX118" fmla="*/ 2313198 w 3907177"/>
                  <a:gd name="connsiteY118" fmla="*/ 470584 h 3033282"/>
                  <a:gd name="connsiteX119" fmla="*/ 2460566 w 3907177"/>
                  <a:gd name="connsiteY119" fmla="*/ 333037 h 3033282"/>
                  <a:gd name="connsiteX120" fmla="*/ 2482676 w 3907177"/>
                  <a:gd name="connsiteY120" fmla="*/ 317005 h 3033282"/>
                  <a:gd name="connsiteX121" fmla="*/ 2522361 w 3907177"/>
                  <a:gd name="connsiteY121" fmla="*/ 296868 h 3033282"/>
                  <a:gd name="connsiteX122" fmla="*/ 2554579 w 3907177"/>
                  <a:gd name="connsiteY122" fmla="*/ 283748 h 3033282"/>
                  <a:gd name="connsiteX123" fmla="*/ 2694384 w 3907177"/>
                  <a:gd name="connsiteY123" fmla="*/ 254812 h 3033282"/>
                  <a:gd name="connsiteX124" fmla="*/ 2798186 w 3907177"/>
                  <a:gd name="connsiteY124" fmla="*/ 277829 h 3033282"/>
                  <a:gd name="connsiteX125" fmla="*/ 2857052 w 3907177"/>
                  <a:gd name="connsiteY125" fmla="*/ 260994 h 3033282"/>
                  <a:gd name="connsiteX126" fmla="*/ 2861191 w 3907177"/>
                  <a:gd name="connsiteY126" fmla="*/ 261705 h 3033282"/>
                  <a:gd name="connsiteX127" fmla="*/ 2866568 w 3907177"/>
                  <a:gd name="connsiteY127" fmla="*/ 262766 h 3033282"/>
                  <a:gd name="connsiteX128" fmla="*/ 2867847 w 3907177"/>
                  <a:gd name="connsiteY128" fmla="*/ 263215 h 3033282"/>
                  <a:gd name="connsiteX129" fmla="*/ 2874182 w 3907177"/>
                  <a:gd name="connsiteY129" fmla="*/ 265939 h 3033282"/>
                  <a:gd name="connsiteX130" fmla="*/ 2878772 w 3907177"/>
                  <a:gd name="connsiteY130" fmla="*/ 265783 h 3033282"/>
                  <a:gd name="connsiteX131" fmla="*/ 2879970 w 3907177"/>
                  <a:gd name="connsiteY131" fmla="*/ 265863 h 3033282"/>
                  <a:gd name="connsiteX132" fmla="*/ 2909084 w 3907177"/>
                  <a:gd name="connsiteY132" fmla="*/ 273357 h 3033282"/>
                  <a:gd name="connsiteX133" fmla="*/ 2989498 w 3907177"/>
                  <a:gd name="connsiteY133" fmla="*/ 315709 h 3033282"/>
                  <a:gd name="connsiteX134" fmla="*/ 3365815 w 3907177"/>
                  <a:gd name="connsiteY134" fmla="*/ 925987 h 3033282"/>
                  <a:gd name="connsiteX135" fmla="*/ 3233368 w 3907177"/>
                  <a:gd name="connsiteY135" fmla="*/ 1376331 h 3033282"/>
                  <a:gd name="connsiteX136" fmla="*/ 3239761 w 3907177"/>
                  <a:gd name="connsiteY136" fmla="*/ 1410216 h 3033282"/>
                  <a:gd name="connsiteX137" fmla="*/ 3243622 w 3907177"/>
                  <a:gd name="connsiteY137" fmla="*/ 1426604 h 3033282"/>
                  <a:gd name="connsiteX138" fmla="*/ 3302854 w 3907177"/>
                  <a:gd name="connsiteY138" fmla="*/ 1472111 h 3033282"/>
                  <a:gd name="connsiteX139" fmla="*/ 3442037 w 3907177"/>
                  <a:gd name="connsiteY139" fmla="*/ 1705090 h 3033282"/>
                  <a:gd name="connsiteX140" fmla="*/ 3433973 w 3907177"/>
                  <a:gd name="connsiteY140" fmla="*/ 1732860 h 3033282"/>
                  <a:gd name="connsiteX141" fmla="*/ 3404867 w 3907177"/>
                  <a:gd name="connsiteY141" fmla="*/ 1673697 h 3033282"/>
                  <a:gd name="connsiteX142" fmla="*/ 3388345 w 3907177"/>
                  <a:gd name="connsiteY142" fmla="*/ 1639131 h 3033282"/>
                  <a:gd name="connsiteX143" fmla="*/ 3377441 w 3907177"/>
                  <a:gd name="connsiteY143" fmla="*/ 1616053 h 3033282"/>
                  <a:gd name="connsiteX144" fmla="*/ 3359581 w 3907177"/>
                  <a:gd name="connsiteY144" fmla="*/ 1565598 h 3033282"/>
                  <a:gd name="connsiteX145" fmla="*/ 3361687 w 3907177"/>
                  <a:gd name="connsiteY145" fmla="*/ 1582431 h 3033282"/>
                  <a:gd name="connsiteX146" fmla="*/ 3374588 w 3907177"/>
                  <a:gd name="connsiteY146" fmla="*/ 1610015 h 3033282"/>
                  <a:gd name="connsiteX147" fmla="*/ 3377441 w 3907177"/>
                  <a:gd name="connsiteY147" fmla="*/ 1616053 h 3033282"/>
                  <a:gd name="connsiteX148" fmla="*/ 3442901 w 3907177"/>
                  <a:gd name="connsiteY148" fmla="*/ 1800978 h 3033282"/>
                  <a:gd name="connsiteX149" fmla="*/ 3440408 w 3907177"/>
                  <a:gd name="connsiteY149" fmla="*/ 1796829 h 3033282"/>
                  <a:gd name="connsiteX150" fmla="*/ 3433154 w 3907177"/>
                  <a:gd name="connsiteY150" fmla="*/ 1784752 h 3033282"/>
                  <a:gd name="connsiteX151" fmla="*/ 3397602 w 3907177"/>
                  <a:gd name="connsiteY151" fmla="*/ 1761774 h 3033282"/>
                  <a:gd name="connsiteX152" fmla="*/ 3349501 w 3907177"/>
                  <a:gd name="connsiteY152" fmla="*/ 1755507 h 3033282"/>
                  <a:gd name="connsiteX153" fmla="*/ 3395510 w 3907177"/>
                  <a:gd name="connsiteY153" fmla="*/ 1772218 h 3033282"/>
                  <a:gd name="connsiteX154" fmla="*/ 3439918 w 3907177"/>
                  <a:gd name="connsiteY154" fmla="*/ 1800713 h 3033282"/>
                  <a:gd name="connsiteX155" fmla="*/ 3444055 w 3907177"/>
                  <a:gd name="connsiteY155" fmla="*/ 1804238 h 3033282"/>
                  <a:gd name="connsiteX156" fmla="*/ 3555468 w 3907177"/>
                  <a:gd name="connsiteY156" fmla="*/ 2118980 h 3033282"/>
                  <a:gd name="connsiteX157" fmla="*/ 3553362 w 3907177"/>
                  <a:gd name="connsiteY157" fmla="*/ 2091890 h 3033282"/>
                  <a:gd name="connsiteX158" fmla="*/ 3553487 w 3907177"/>
                  <a:gd name="connsiteY158" fmla="*/ 2080908 h 3033282"/>
                  <a:gd name="connsiteX159" fmla="*/ 3554536 w 3907177"/>
                  <a:gd name="connsiteY159" fmla="*/ 2083695 h 3033282"/>
                  <a:gd name="connsiteX160" fmla="*/ 3570142 w 3907177"/>
                  <a:gd name="connsiteY160" fmla="*/ 2125146 h 3033282"/>
                  <a:gd name="connsiteX161" fmla="*/ 3570375 w 3907177"/>
                  <a:gd name="connsiteY161" fmla="*/ 2125765 h 3033282"/>
                  <a:gd name="connsiteX162" fmla="*/ 3570326 w 3907177"/>
                  <a:gd name="connsiteY162" fmla="*/ 2125774 h 3033282"/>
                  <a:gd name="connsiteX163" fmla="*/ 3524755 w 3907177"/>
                  <a:gd name="connsiteY163" fmla="*/ 2128437 h 3033282"/>
                  <a:gd name="connsiteX164" fmla="*/ 3520991 w 3907177"/>
                  <a:gd name="connsiteY164" fmla="*/ 2130652 h 3033282"/>
                  <a:gd name="connsiteX165" fmla="*/ 3519898 w 3907177"/>
                  <a:gd name="connsiteY165" fmla="*/ 2125754 h 3033282"/>
                  <a:gd name="connsiteX166" fmla="*/ 3513061 w 3907177"/>
                  <a:gd name="connsiteY166" fmla="*/ 2102599 h 3033282"/>
                  <a:gd name="connsiteX167" fmla="*/ 3485716 w 3907177"/>
                  <a:gd name="connsiteY167" fmla="*/ 2058392 h 3033282"/>
                  <a:gd name="connsiteX168" fmla="*/ 3422611 w 3907177"/>
                  <a:gd name="connsiteY168" fmla="*/ 2039446 h 3033282"/>
                  <a:gd name="connsiteX169" fmla="*/ 3384747 w 3907177"/>
                  <a:gd name="connsiteY169" fmla="*/ 2043657 h 3033282"/>
                  <a:gd name="connsiteX170" fmla="*/ 3334263 w 3907177"/>
                  <a:gd name="connsiteY170" fmla="*/ 2031026 h 3033282"/>
                  <a:gd name="connsiteX171" fmla="*/ 3378437 w 3907177"/>
                  <a:gd name="connsiteY171" fmla="*/ 2058392 h 3033282"/>
                  <a:gd name="connsiteX172" fmla="*/ 3357402 w 3907177"/>
                  <a:gd name="connsiteY172" fmla="*/ 2092073 h 3033282"/>
                  <a:gd name="connsiteX173" fmla="*/ 3351091 w 3907177"/>
                  <a:gd name="connsiteY173" fmla="*/ 2140490 h 3033282"/>
                  <a:gd name="connsiteX174" fmla="*/ 3317435 w 3907177"/>
                  <a:gd name="connsiteY174" fmla="*/ 2140490 h 3033282"/>
                  <a:gd name="connsiteX175" fmla="*/ 3359505 w 3907177"/>
                  <a:gd name="connsiteY175" fmla="*/ 2155225 h 3033282"/>
                  <a:gd name="connsiteX176" fmla="*/ 3416300 w 3907177"/>
                  <a:gd name="connsiteY176" fmla="*/ 2180486 h 3033282"/>
                  <a:gd name="connsiteX177" fmla="*/ 3468953 w 3907177"/>
                  <a:gd name="connsiteY177" fmla="*/ 2204760 h 3033282"/>
                  <a:gd name="connsiteX178" fmla="*/ 3471183 w 3907177"/>
                  <a:gd name="connsiteY178" fmla="*/ 2205864 h 3033282"/>
                  <a:gd name="connsiteX179" fmla="*/ 3465112 w 3907177"/>
                  <a:gd name="connsiteY179" fmla="*/ 2222558 h 3033282"/>
                  <a:gd name="connsiteX180" fmla="*/ 3404088 w 3907177"/>
                  <a:gd name="connsiteY180" fmla="*/ 2397188 h 3033282"/>
                  <a:gd name="connsiteX181" fmla="*/ 3303083 w 3907177"/>
                  <a:gd name="connsiteY181" fmla="*/ 2544467 h 3033282"/>
                  <a:gd name="connsiteX182" fmla="*/ 3395671 w 3907177"/>
                  <a:gd name="connsiteY182" fmla="*/ 2456100 h 3033282"/>
                  <a:gd name="connsiteX183" fmla="*/ 3450382 w 3907177"/>
                  <a:gd name="connsiteY183" fmla="*/ 2386668 h 3033282"/>
                  <a:gd name="connsiteX184" fmla="*/ 3526136 w 3907177"/>
                  <a:gd name="connsiteY184" fmla="*/ 2184686 h 3033282"/>
                  <a:gd name="connsiteX185" fmla="*/ 3618725 w 3907177"/>
                  <a:gd name="connsiteY185" fmla="*/ 2163646 h 3033282"/>
                  <a:gd name="connsiteX186" fmla="*/ 3751294 w 3907177"/>
                  <a:gd name="connsiteY186" fmla="*/ 2136294 h 3033282"/>
                  <a:gd name="connsiteX187" fmla="*/ 3799430 w 3907177"/>
                  <a:gd name="connsiteY187" fmla="*/ 2104735 h 3033282"/>
                  <a:gd name="connsiteX188" fmla="*/ 3810437 w 3907177"/>
                  <a:gd name="connsiteY188" fmla="*/ 2099831 h 3033282"/>
                  <a:gd name="connsiteX189" fmla="*/ 3824461 w 3907177"/>
                  <a:gd name="connsiteY189" fmla="*/ 2097367 h 3033282"/>
                  <a:gd name="connsiteX190" fmla="*/ 3829342 w 3907177"/>
                  <a:gd name="connsiteY190" fmla="*/ 2096510 h 3033282"/>
                  <a:gd name="connsiteX191" fmla="*/ 3845987 w 3907177"/>
                  <a:gd name="connsiteY191" fmla="*/ 2098423 h 3033282"/>
                  <a:gd name="connsiteX192" fmla="*/ 3904907 w 3907177"/>
                  <a:gd name="connsiteY192" fmla="*/ 2180478 h 3033282"/>
                  <a:gd name="connsiteX193" fmla="*/ 3885968 w 3907177"/>
                  <a:gd name="connsiteY193" fmla="*/ 2315133 h 3033282"/>
                  <a:gd name="connsiteX194" fmla="*/ 3884225 w 3907177"/>
                  <a:gd name="connsiteY194" fmla="*/ 2328571 h 3033282"/>
                  <a:gd name="connsiteX195" fmla="*/ 3881324 w 3907177"/>
                  <a:gd name="connsiteY195" fmla="*/ 2344937 h 3033282"/>
                  <a:gd name="connsiteX196" fmla="*/ 3878738 w 3907177"/>
                  <a:gd name="connsiteY196" fmla="*/ 2354578 h 3033282"/>
                  <a:gd name="connsiteX197" fmla="*/ 3857107 w 3907177"/>
                  <a:gd name="connsiteY197" fmla="*/ 2435219 h 3033282"/>
                  <a:gd name="connsiteX198" fmla="*/ 3839183 w 3907177"/>
                  <a:gd name="connsiteY198" fmla="*/ 2502042 h 3033282"/>
                  <a:gd name="connsiteX199" fmla="*/ 3806236 w 3907177"/>
                  <a:gd name="connsiteY199" fmla="*/ 2584501 h 3033282"/>
                  <a:gd name="connsiteX200" fmla="*/ 3612412 w 3907177"/>
                  <a:gd name="connsiteY200" fmla="*/ 2876897 h 3033282"/>
                  <a:gd name="connsiteX201" fmla="*/ 3004275 w 3907177"/>
                  <a:gd name="connsiteY201" fmla="*/ 2912665 h 3033282"/>
                  <a:gd name="connsiteX202" fmla="*/ 2812785 w 3907177"/>
                  <a:gd name="connsiteY202" fmla="*/ 2759074 h 3033282"/>
                  <a:gd name="connsiteX203" fmla="*/ 2726510 w 3907177"/>
                  <a:gd name="connsiteY203" fmla="*/ 2651771 h 3033282"/>
                  <a:gd name="connsiteX204" fmla="*/ 2722301 w 3907177"/>
                  <a:gd name="connsiteY204" fmla="*/ 2655979 h 3033282"/>
                  <a:gd name="connsiteX205" fmla="*/ 2686529 w 3907177"/>
                  <a:gd name="connsiteY205" fmla="*/ 2750658 h 3033282"/>
                  <a:gd name="connsiteX206" fmla="*/ 2646547 w 3907177"/>
                  <a:gd name="connsiteY206" fmla="*/ 2799050 h 3033282"/>
                  <a:gd name="connsiteX207" fmla="*/ 2593940 w 3907177"/>
                  <a:gd name="connsiteY207" fmla="*/ 2887417 h 3033282"/>
                  <a:gd name="connsiteX208" fmla="*/ 2606566 w 3907177"/>
                  <a:gd name="connsiteY208" fmla="*/ 2963160 h 3033282"/>
                  <a:gd name="connsiteX209" fmla="*/ 2724406 w 3907177"/>
                  <a:gd name="connsiteY209" fmla="*/ 3001032 h 3033282"/>
                  <a:gd name="connsiteX210" fmla="*/ 2614983 w 3907177"/>
                  <a:gd name="connsiteY210" fmla="*/ 2916873 h 3033282"/>
                  <a:gd name="connsiteX211" fmla="*/ 2636026 w 3907177"/>
                  <a:gd name="connsiteY211" fmla="*/ 2931601 h 3033282"/>
                  <a:gd name="connsiteX212" fmla="*/ 2741240 w 3907177"/>
                  <a:gd name="connsiteY212" fmla="*/ 2975784 h 3033282"/>
                  <a:gd name="connsiteX213" fmla="*/ 2823307 w 3907177"/>
                  <a:gd name="connsiteY213" fmla="*/ 2935809 h 3033282"/>
                  <a:gd name="connsiteX214" fmla="*/ 2869601 w 3907177"/>
                  <a:gd name="connsiteY214" fmla="*/ 2874793 h 3033282"/>
                  <a:gd name="connsiteX215" fmla="*/ 2909582 w 3907177"/>
                  <a:gd name="connsiteY215" fmla="*/ 2914769 h 3033282"/>
                  <a:gd name="connsiteX216" fmla="*/ 2804368 w 3907177"/>
                  <a:gd name="connsiteY216" fmla="*/ 3009448 h 3033282"/>
                  <a:gd name="connsiteX217" fmla="*/ 2631817 w 3907177"/>
                  <a:gd name="connsiteY217" fmla="*/ 3019968 h 3033282"/>
                  <a:gd name="connsiteX218" fmla="*/ 2592812 w 3907177"/>
                  <a:gd name="connsiteY218" fmla="*/ 2997729 h 3033282"/>
                  <a:gd name="connsiteX219" fmla="*/ 2571463 w 3907177"/>
                  <a:gd name="connsiteY219" fmla="*/ 2978979 h 3033282"/>
                  <a:gd name="connsiteX220" fmla="*/ 2569646 w 3907177"/>
                  <a:gd name="connsiteY220" fmla="*/ 2977384 h 3033282"/>
                  <a:gd name="connsiteX221" fmla="*/ 2550477 w 3907177"/>
                  <a:gd name="connsiteY221" fmla="*/ 2953365 h 3033282"/>
                  <a:gd name="connsiteX222" fmla="*/ 2543509 w 3907177"/>
                  <a:gd name="connsiteY222" fmla="*/ 2942341 h 3033282"/>
                  <a:gd name="connsiteX223" fmla="*/ 2527951 w 3907177"/>
                  <a:gd name="connsiteY223" fmla="*/ 2910199 h 3033282"/>
                  <a:gd name="connsiteX224" fmla="*/ 2522395 w 3907177"/>
                  <a:gd name="connsiteY224" fmla="*/ 2893729 h 3033282"/>
                  <a:gd name="connsiteX225" fmla="*/ 2457162 w 3907177"/>
                  <a:gd name="connsiteY225" fmla="*/ 2748554 h 3033282"/>
                  <a:gd name="connsiteX226" fmla="*/ 2362469 w 3907177"/>
                  <a:gd name="connsiteY226" fmla="*/ 2651771 h 3033282"/>
                  <a:gd name="connsiteX227" fmla="*/ 2340024 w 3907177"/>
                  <a:gd name="connsiteY227" fmla="*/ 2621933 h 3033282"/>
                  <a:gd name="connsiteX228" fmla="*/ 2338457 w 3907177"/>
                  <a:gd name="connsiteY228" fmla="*/ 2619477 h 3033282"/>
                  <a:gd name="connsiteX229" fmla="*/ 2304048 w 3907177"/>
                  <a:gd name="connsiteY229" fmla="*/ 2565541 h 3033282"/>
                  <a:gd name="connsiteX230" fmla="*/ 2335655 w 3907177"/>
                  <a:gd name="connsiteY230" fmla="*/ 2318674 h 3033282"/>
                  <a:gd name="connsiteX231" fmla="*/ 2366996 w 3907177"/>
                  <a:gd name="connsiteY231" fmla="*/ 2274192 h 3033282"/>
                  <a:gd name="connsiteX232" fmla="*/ 2347572 w 3907177"/>
                  <a:gd name="connsiteY232" fmla="*/ 2275513 h 3033282"/>
                  <a:gd name="connsiteX233" fmla="*/ 2320522 w 3907177"/>
                  <a:gd name="connsiteY233" fmla="*/ 2269084 h 3033282"/>
                  <a:gd name="connsiteX234" fmla="*/ 2038565 w 3907177"/>
                  <a:gd name="connsiteY234" fmla="*/ 2062847 h 3033282"/>
                  <a:gd name="connsiteX235" fmla="*/ 2043892 w 3907177"/>
                  <a:gd name="connsiteY235" fmla="*/ 1618938 h 3033282"/>
                  <a:gd name="connsiteX236" fmla="*/ 2058099 w 3907177"/>
                  <a:gd name="connsiteY236" fmla="*/ 1557525 h 3033282"/>
                  <a:gd name="connsiteX237" fmla="*/ 2055755 w 3907177"/>
                  <a:gd name="connsiteY237" fmla="*/ 1558228 h 3033282"/>
                  <a:gd name="connsiteX238" fmla="*/ 2050316 w 3907177"/>
                  <a:gd name="connsiteY238" fmla="*/ 1559430 h 3033282"/>
                  <a:gd name="connsiteX239" fmla="*/ 1525518 w 3907177"/>
                  <a:gd name="connsiteY239" fmla="*/ 1690090 h 3033282"/>
                  <a:gd name="connsiteX240" fmla="*/ 946985 w 3907177"/>
                  <a:gd name="connsiteY240" fmla="*/ 1875211 h 3033282"/>
                  <a:gd name="connsiteX241" fmla="*/ 559893 w 3907177"/>
                  <a:gd name="connsiteY241" fmla="*/ 1858382 h 3033282"/>
                  <a:gd name="connsiteX242" fmla="*/ 412630 w 3907177"/>
                  <a:gd name="connsiteY242" fmla="*/ 1498659 h 3033282"/>
                  <a:gd name="connsiteX243" fmla="*/ 46576 w 3907177"/>
                  <a:gd name="connsiteY243" fmla="*/ 1063204 h 3033282"/>
                  <a:gd name="connsiteX244" fmla="*/ 36057 w 3907177"/>
                  <a:gd name="connsiteY244" fmla="*/ 665615 h 3033282"/>
                  <a:gd name="connsiteX245" fmla="*/ 191735 w 3907177"/>
                  <a:gd name="connsiteY245" fmla="*/ 459457 h 3033282"/>
                  <a:gd name="connsiteX246" fmla="*/ 374762 w 3907177"/>
                  <a:gd name="connsiteY246" fmla="*/ 465768 h 3033282"/>
                  <a:gd name="connsiteX247" fmla="*/ 677704 w 3907177"/>
                  <a:gd name="connsiteY247" fmla="*/ 528878 h 3033282"/>
                  <a:gd name="connsiteX248" fmla="*/ 1090040 w 3907177"/>
                  <a:gd name="connsiteY248" fmla="*/ 713999 h 3033282"/>
                  <a:gd name="connsiteX249" fmla="*/ 736609 w 3907177"/>
                  <a:gd name="connsiteY249" fmla="*/ 514152 h 3033282"/>
                  <a:gd name="connsiteX250" fmla="*/ 503092 w 3907177"/>
                  <a:gd name="connsiteY250" fmla="*/ 423695 h 3033282"/>
                  <a:gd name="connsiteX251" fmla="*/ 700845 w 3907177"/>
                  <a:gd name="connsiteY251" fmla="*/ 246989 h 3033282"/>
                  <a:gd name="connsiteX252" fmla="*/ 867042 w 3907177"/>
                  <a:gd name="connsiteY252" fmla="*/ 47143 h 3033282"/>
                  <a:gd name="connsiteX253" fmla="*/ 990408 w 3907177"/>
                  <a:gd name="connsiteY253" fmla="*/ 698 h 3033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Lst>
                <a:rect l="l" t="t" r="r" b="b"/>
                <a:pathLst>
                  <a:path w="3907177" h="3033282">
                    <a:moveTo>
                      <a:pt x="3283994" y="2199606"/>
                    </a:moveTo>
                    <a:cubicBezTo>
                      <a:pt x="3260886" y="2199606"/>
                      <a:pt x="3239879" y="2208029"/>
                      <a:pt x="3216771" y="2237508"/>
                    </a:cubicBezTo>
                    <a:cubicBezTo>
                      <a:pt x="3206268" y="2252247"/>
                      <a:pt x="3191038" y="2271198"/>
                      <a:pt x="3176070" y="2287254"/>
                    </a:cubicBezTo>
                    <a:lnTo>
                      <a:pt x="3157902" y="2304911"/>
                    </a:lnTo>
                    <a:lnTo>
                      <a:pt x="3148728" y="2311436"/>
                    </a:lnTo>
                    <a:cubicBezTo>
                      <a:pt x="3141540" y="2316470"/>
                      <a:pt x="3136944" y="2319628"/>
                      <a:pt x="3136944" y="2319628"/>
                    </a:cubicBezTo>
                    <a:cubicBezTo>
                      <a:pt x="3141671" y="2318049"/>
                      <a:pt x="3147710" y="2313969"/>
                      <a:pt x="3154439" y="2308277"/>
                    </a:cubicBezTo>
                    <a:lnTo>
                      <a:pt x="3157902" y="2304911"/>
                    </a:lnTo>
                    <a:lnTo>
                      <a:pt x="3176070" y="2291992"/>
                    </a:lnTo>
                    <a:cubicBezTo>
                      <a:pt x="3196815" y="2276989"/>
                      <a:pt x="3219922" y="2259617"/>
                      <a:pt x="3229375" y="2250142"/>
                    </a:cubicBezTo>
                    <a:cubicBezTo>
                      <a:pt x="3248282" y="2231191"/>
                      <a:pt x="3283994" y="2231191"/>
                      <a:pt x="3317605" y="2231191"/>
                    </a:cubicBezTo>
                    <a:cubicBezTo>
                      <a:pt x="3341238" y="2231191"/>
                      <a:pt x="3367234" y="2240666"/>
                      <a:pt x="3378755" y="2245404"/>
                    </a:cubicBezTo>
                    <a:lnTo>
                      <a:pt x="3382808" y="2247161"/>
                    </a:lnTo>
                    <a:lnTo>
                      <a:pt x="3351550" y="2248260"/>
                    </a:lnTo>
                    <a:cubicBezTo>
                      <a:pt x="3337425" y="2251320"/>
                      <a:pt x="3324650" y="2257505"/>
                      <a:pt x="3315694" y="2268558"/>
                    </a:cubicBezTo>
                    <a:cubicBezTo>
                      <a:pt x="3281978" y="2310668"/>
                      <a:pt x="3267228" y="2335934"/>
                      <a:pt x="3248262" y="2369622"/>
                    </a:cubicBezTo>
                    <a:cubicBezTo>
                      <a:pt x="3229297" y="2403310"/>
                      <a:pt x="3195581" y="2443314"/>
                      <a:pt x="3195581" y="2443314"/>
                    </a:cubicBezTo>
                    <a:cubicBezTo>
                      <a:pt x="3195581" y="2443314"/>
                      <a:pt x="3273549" y="2363305"/>
                      <a:pt x="3288300" y="2346462"/>
                    </a:cubicBezTo>
                    <a:cubicBezTo>
                      <a:pt x="3303051" y="2327512"/>
                      <a:pt x="3309372" y="2312774"/>
                      <a:pt x="3334660" y="2295930"/>
                    </a:cubicBezTo>
                    <a:cubicBezTo>
                      <a:pt x="3357839" y="2279086"/>
                      <a:pt x="3381019" y="2279086"/>
                      <a:pt x="3404199" y="2281191"/>
                    </a:cubicBezTo>
                    <a:cubicBezTo>
                      <a:pt x="3427378" y="2283297"/>
                      <a:pt x="3442129" y="2291719"/>
                      <a:pt x="3442129" y="2291719"/>
                    </a:cubicBezTo>
                    <a:lnTo>
                      <a:pt x="3448451" y="2258031"/>
                    </a:lnTo>
                    <a:cubicBezTo>
                      <a:pt x="3448451" y="2258031"/>
                      <a:pt x="3442393" y="2255926"/>
                      <a:pt x="3432746" y="2253458"/>
                    </a:cubicBezTo>
                    <a:lnTo>
                      <a:pt x="3399309" y="2247403"/>
                    </a:lnTo>
                    <a:lnTo>
                      <a:pt x="3406885" y="2246720"/>
                    </a:lnTo>
                    <a:cubicBezTo>
                      <a:pt x="3417388" y="2244878"/>
                      <a:pt x="3426842" y="2240666"/>
                      <a:pt x="3422640" y="2231191"/>
                    </a:cubicBezTo>
                    <a:cubicBezTo>
                      <a:pt x="3412137" y="2214346"/>
                      <a:pt x="3391130" y="2216451"/>
                      <a:pt x="3370122" y="2208029"/>
                    </a:cubicBezTo>
                    <a:cubicBezTo>
                      <a:pt x="3349115" y="2201712"/>
                      <a:pt x="3309202" y="2199606"/>
                      <a:pt x="3283994" y="2199606"/>
                    </a:cubicBezTo>
                    <a:close/>
                    <a:moveTo>
                      <a:pt x="3868985" y="2136388"/>
                    </a:moveTo>
                    <a:cubicBezTo>
                      <a:pt x="3868985" y="2136388"/>
                      <a:pt x="3778558" y="2193138"/>
                      <a:pt x="3734396" y="2199444"/>
                    </a:cubicBezTo>
                    <a:cubicBezTo>
                      <a:pt x="3690235" y="2205750"/>
                      <a:pt x="3646073" y="2235176"/>
                      <a:pt x="3559852" y="2182629"/>
                    </a:cubicBezTo>
                    <a:cubicBezTo>
                      <a:pt x="3555646" y="2180527"/>
                      <a:pt x="3604014" y="2239379"/>
                      <a:pt x="3641867" y="2241481"/>
                    </a:cubicBezTo>
                    <a:cubicBezTo>
                      <a:pt x="3681823" y="2243583"/>
                      <a:pt x="3702852" y="2239379"/>
                      <a:pt x="3702852" y="2239379"/>
                    </a:cubicBezTo>
                    <a:cubicBezTo>
                      <a:pt x="3784867" y="2228870"/>
                      <a:pt x="3820617" y="2188935"/>
                      <a:pt x="3831132" y="2178425"/>
                    </a:cubicBezTo>
                    <a:cubicBezTo>
                      <a:pt x="3843750" y="2170018"/>
                      <a:pt x="3868985" y="2136388"/>
                      <a:pt x="3868985" y="2136388"/>
                    </a:cubicBezTo>
                    <a:close/>
                    <a:moveTo>
                      <a:pt x="3385344" y="2089937"/>
                    </a:moveTo>
                    <a:cubicBezTo>
                      <a:pt x="3391674" y="2089411"/>
                      <a:pt x="3398532" y="2089937"/>
                      <a:pt x="3403807" y="2092045"/>
                    </a:cubicBezTo>
                    <a:cubicBezTo>
                      <a:pt x="3412247" y="2096259"/>
                      <a:pt x="3418577" y="2104688"/>
                      <a:pt x="3420687" y="2119439"/>
                    </a:cubicBezTo>
                    <a:cubicBezTo>
                      <a:pt x="3422797" y="2132083"/>
                      <a:pt x="3410137" y="2151048"/>
                      <a:pt x="3410137" y="2151048"/>
                    </a:cubicBezTo>
                    <a:cubicBezTo>
                      <a:pt x="3410137" y="2151048"/>
                      <a:pt x="3389037" y="2144726"/>
                      <a:pt x="3380596" y="2144726"/>
                    </a:cubicBezTo>
                    <a:cubicBezTo>
                      <a:pt x="3374266" y="2142619"/>
                      <a:pt x="3353166" y="2146834"/>
                      <a:pt x="3353166" y="2146834"/>
                    </a:cubicBezTo>
                    <a:lnTo>
                      <a:pt x="3353166" y="2113117"/>
                    </a:lnTo>
                    <a:cubicBezTo>
                      <a:pt x="3353166" y="2113117"/>
                      <a:pt x="3365826" y="2096259"/>
                      <a:pt x="3370046" y="2094152"/>
                    </a:cubicBezTo>
                    <a:cubicBezTo>
                      <a:pt x="3373211" y="2092045"/>
                      <a:pt x="3379014" y="2090464"/>
                      <a:pt x="3385344" y="2089937"/>
                    </a:cubicBezTo>
                    <a:close/>
                    <a:moveTo>
                      <a:pt x="2921466" y="1940074"/>
                    </a:moveTo>
                    <a:cubicBezTo>
                      <a:pt x="2903875" y="1940863"/>
                      <a:pt x="2886546" y="1942966"/>
                      <a:pt x="2876044" y="1945069"/>
                    </a:cubicBezTo>
                    <a:cubicBezTo>
                      <a:pt x="2857140" y="1951377"/>
                      <a:pt x="2819332" y="1968200"/>
                      <a:pt x="2796228" y="1980818"/>
                    </a:cubicBezTo>
                    <a:cubicBezTo>
                      <a:pt x="2773123" y="1995538"/>
                      <a:pt x="2716411" y="2018670"/>
                      <a:pt x="2716411" y="2018670"/>
                    </a:cubicBezTo>
                    <a:cubicBezTo>
                      <a:pt x="2716411" y="2018670"/>
                      <a:pt x="2756319" y="2016567"/>
                      <a:pt x="2773123" y="2014464"/>
                    </a:cubicBezTo>
                    <a:cubicBezTo>
                      <a:pt x="2789926" y="2014464"/>
                      <a:pt x="2813031" y="2008155"/>
                      <a:pt x="2813031" y="2008155"/>
                    </a:cubicBezTo>
                    <a:cubicBezTo>
                      <a:pt x="2813031" y="2008155"/>
                      <a:pt x="2802529" y="2046007"/>
                      <a:pt x="2810931" y="2075448"/>
                    </a:cubicBezTo>
                    <a:cubicBezTo>
                      <a:pt x="2817232" y="2102785"/>
                      <a:pt x="2825634" y="2117505"/>
                      <a:pt x="2825634" y="2117505"/>
                    </a:cubicBezTo>
                    <a:cubicBezTo>
                      <a:pt x="2825634" y="2117505"/>
                      <a:pt x="2825634" y="2119608"/>
                      <a:pt x="2817232" y="2123814"/>
                    </a:cubicBezTo>
                    <a:cubicBezTo>
                      <a:pt x="2810931" y="2125917"/>
                      <a:pt x="2773123" y="2157460"/>
                      <a:pt x="2773123" y="2157460"/>
                    </a:cubicBezTo>
                    <a:cubicBezTo>
                      <a:pt x="2773123" y="2157460"/>
                      <a:pt x="2831935" y="2132226"/>
                      <a:pt x="2848738" y="2125917"/>
                    </a:cubicBezTo>
                    <a:cubicBezTo>
                      <a:pt x="2865542" y="2121711"/>
                      <a:pt x="2901249" y="2113300"/>
                      <a:pt x="2941157" y="2104888"/>
                    </a:cubicBezTo>
                    <a:cubicBezTo>
                      <a:pt x="2981066" y="2096476"/>
                      <a:pt x="3111292" y="2106991"/>
                      <a:pt x="3111292" y="2106991"/>
                    </a:cubicBezTo>
                    <a:cubicBezTo>
                      <a:pt x="3111292" y="2106991"/>
                      <a:pt x="3073484" y="2092271"/>
                      <a:pt x="3056681" y="2085962"/>
                    </a:cubicBezTo>
                    <a:cubicBezTo>
                      <a:pt x="3039878" y="2081756"/>
                      <a:pt x="3016773" y="2081756"/>
                      <a:pt x="3016773" y="2081756"/>
                    </a:cubicBezTo>
                    <a:cubicBezTo>
                      <a:pt x="3016773" y="2081756"/>
                      <a:pt x="3029375" y="2052316"/>
                      <a:pt x="3023074" y="2027081"/>
                    </a:cubicBezTo>
                    <a:cubicBezTo>
                      <a:pt x="3016773" y="1999744"/>
                      <a:pt x="2995769" y="1970303"/>
                      <a:pt x="2995769" y="1970303"/>
                    </a:cubicBezTo>
                    <a:cubicBezTo>
                      <a:pt x="2995769" y="1970303"/>
                      <a:pt x="3002070" y="1966098"/>
                      <a:pt x="3018873" y="1966098"/>
                    </a:cubicBezTo>
                    <a:cubicBezTo>
                      <a:pt x="3035677" y="1963995"/>
                      <a:pt x="3065083" y="1957686"/>
                      <a:pt x="3065083" y="1957686"/>
                    </a:cubicBezTo>
                    <a:cubicBezTo>
                      <a:pt x="3065083" y="1957686"/>
                      <a:pt x="2991568" y="1949274"/>
                      <a:pt x="2968463" y="1942966"/>
                    </a:cubicBezTo>
                    <a:cubicBezTo>
                      <a:pt x="2956910" y="1939811"/>
                      <a:pt x="2939057" y="1939286"/>
                      <a:pt x="2921466" y="1940074"/>
                    </a:cubicBezTo>
                    <a:close/>
                    <a:moveTo>
                      <a:pt x="2882143" y="1689578"/>
                    </a:moveTo>
                    <a:cubicBezTo>
                      <a:pt x="2843731" y="1689315"/>
                      <a:pt x="2800057" y="1691418"/>
                      <a:pt x="2779009" y="1700880"/>
                    </a:cubicBezTo>
                    <a:cubicBezTo>
                      <a:pt x="2736913" y="1717702"/>
                      <a:pt x="2720075" y="1810222"/>
                      <a:pt x="2720075" y="1810222"/>
                    </a:cubicBezTo>
                    <a:cubicBezTo>
                      <a:pt x="2720075" y="1810222"/>
                      <a:pt x="2760066" y="1759756"/>
                      <a:pt x="2806371" y="1730318"/>
                    </a:cubicBezTo>
                    <a:cubicBezTo>
                      <a:pt x="2852676" y="1698777"/>
                      <a:pt x="2953705" y="1692469"/>
                      <a:pt x="2953705" y="1692469"/>
                    </a:cubicBezTo>
                    <a:cubicBezTo>
                      <a:pt x="2953705" y="1692469"/>
                      <a:pt x="2920555" y="1689840"/>
                      <a:pt x="2882143" y="1689578"/>
                    </a:cubicBezTo>
                    <a:close/>
                    <a:moveTo>
                      <a:pt x="2751741" y="1152523"/>
                    </a:moveTo>
                    <a:lnTo>
                      <a:pt x="2752273" y="1154187"/>
                    </a:lnTo>
                    <a:lnTo>
                      <a:pt x="2764036" y="1192874"/>
                    </a:lnTo>
                    <a:lnTo>
                      <a:pt x="2787833" y="1274009"/>
                    </a:lnTo>
                    <a:lnTo>
                      <a:pt x="2819472" y="1283014"/>
                    </a:lnTo>
                    <a:lnTo>
                      <a:pt x="2820261" y="1283258"/>
                    </a:lnTo>
                    <a:lnTo>
                      <a:pt x="2825890" y="1283302"/>
                    </a:lnTo>
                    <a:lnTo>
                      <a:pt x="2903747" y="1291542"/>
                    </a:lnTo>
                    <a:lnTo>
                      <a:pt x="2899550" y="1288295"/>
                    </a:lnTo>
                    <a:cubicBezTo>
                      <a:pt x="2806596" y="1216396"/>
                      <a:pt x="2806596" y="1216396"/>
                      <a:pt x="2806596" y="1216396"/>
                    </a:cubicBezTo>
                    <a:cubicBezTo>
                      <a:pt x="2806596" y="1216396"/>
                      <a:pt x="2794376" y="1202454"/>
                      <a:pt x="2775061" y="1179930"/>
                    </a:cubicBezTo>
                    <a:close/>
                    <a:moveTo>
                      <a:pt x="1695768" y="862876"/>
                    </a:moveTo>
                    <a:cubicBezTo>
                      <a:pt x="2078780" y="919680"/>
                      <a:pt x="2078780" y="919680"/>
                      <a:pt x="2078780" y="919680"/>
                    </a:cubicBezTo>
                    <a:cubicBezTo>
                      <a:pt x="2078780" y="919680"/>
                      <a:pt x="2137705" y="923888"/>
                      <a:pt x="2177689" y="938615"/>
                    </a:cubicBezTo>
                    <a:cubicBezTo>
                      <a:pt x="2217674" y="951238"/>
                      <a:pt x="2274495" y="997523"/>
                      <a:pt x="2274495" y="997523"/>
                    </a:cubicBezTo>
                    <a:cubicBezTo>
                      <a:pt x="2274495" y="997523"/>
                      <a:pt x="2226092" y="984900"/>
                      <a:pt x="2192421" y="984900"/>
                    </a:cubicBezTo>
                    <a:cubicBezTo>
                      <a:pt x="2160854" y="987004"/>
                      <a:pt x="2101929" y="1026977"/>
                      <a:pt x="2082989" y="1031185"/>
                    </a:cubicBezTo>
                    <a:cubicBezTo>
                      <a:pt x="2061944" y="1035392"/>
                      <a:pt x="2013542" y="1064846"/>
                      <a:pt x="2013542" y="1064846"/>
                    </a:cubicBezTo>
                    <a:cubicBezTo>
                      <a:pt x="2013542" y="1064846"/>
                      <a:pt x="2118765" y="1039600"/>
                      <a:pt x="2177689" y="1060639"/>
                    </a:cubicBezTo>
                    <a:cubicBezTo>
                      <a:pt x="2234510" y="1081677"/>
                      <a:pt x="2276599" y="1062742"/>
                      <a:pt x="2320793" y="1102716"/>
                    </a:cubicBezTo>
                    <a:cubicBezTo>
                      <a:pt x="2362882" y="1142689"/>
                      <a:pt x="2402867" y="1193182"/>
                      <a:pt x="2402867" y="1193182"/>
                    </a:cubicBezTo>
                    <a:lnTo>
                      <a:pt x="2477977" y="1304520"/>
                    </a:lnTo>
                    <a:lnTo>
                      <a:pt x="2495231" y="1302276"/>
                    </a:lnTo>
                    <a:lnTo>
                      <a:pt x="2479203" y="1263722"/>
                    </a:lnTo>
                    <a:cubicBezTo>
                      <a:pt x="2435552" y="1159125"/>
                      <a:pt x="2373405" y="1012512"/>
                      <a:pt x="2352360" y="974380"/>
                    </a:cubicBezTo>
                    <a:cubicBezTo>
                      <a:pt x="2320793" y="913369"/>
                      <a:pt x="2238719" y="886019"/>
                      <a:pt x="2194525" y="875499"/>
                    </a:cubicBezTo>
                    <a:cubicBezTo>
                      <a:pt x="2150331" y="862876"/>
                      <a:pt x="1695768" y="862876"/>
                      <a:pt x="1695768" y="862876"/>
                    </a:cubicBezTo>
                    <a:close/>
                    <a:moveTo>
                      <a:pt x="2884074" y="435929"/>
                    </a:moveTo>
                    <a:cubicBezTo>
                      <a:pt x="2884074" y="435929"/>
                      <a:pt x="2919884" y="555927"/>
                      <a:pt x="2987291" y="631716"/>
                    </a:cubicBezTo>
                    <a:cubicBezTo>
                      <a:pt x="3054698" y="705399"/>
                      <a:pt x="3130531" y="1008552"/>
                      <a:pt x="3130531" y="1008552"/>
                    </a:cubicBezTo>
                    <a:cubicBezTo>
                      <a:pt x="3130531" y="1008552"/>
                      <a:pt x="3115786" y="812766"/>
                      <a:pt x="3063124" y="682241"/>
                    </a:cubicBezTo>
                    <a:cubicBezTo>
                      <a:pt x="3063124" y="682241"/>
                      <a:pt x="2993611" y="549612"/>
                      <a:pt x="2970440" y="520138"/>
                    </a:cubicBezTo>
                    <a:cubicBezTo>
                      <a:pt x="2945162" y="490665"/>
                      <a:pt x="2884074" y="435929"/>
                      <a:pt x="2884074" y="435929"/>
                    </a:cubicBezTo>
                    <a:close/>
                    <a:moveTo>
                      <a:pt x="990408" y="698"/>
                    </a:moveTo>
                    <a:cubicBezTo>
                      <a:pt x="1005101" y="-321"/>
                      <a:pt x="1021142" y="-189"/>
                      <a:pt x="1039550" y="863"/>
                    </a:cubicBezTo>
                    <a:cubicBezTo>
                      <a:pt x="1111078" y="5070"/>
                      <a:pt x="1258341" y="38728"/>
                      <a:pt x="1348803" y="72387"/>
                    </a:cubicBezTo>
                    <a:cubicBezTo>
                      <a:pt x="1439264" y="103941"/>
                      <a:pt x="1653848" y="181776"/>
                      <a:pt x="1737998" y="232264"/>
                    </a:cubicBezTo>
                    <a:cubicBezTo>
                      <a:pt x="1830564" y="284855"/>
                      <a:pt x="1914714" y="318513"/>
                      <a:pt x="2005176" y="371104"/>
                    </a:cubicBezTo>
                    <a:cubicBezTo>
                      <a:pt x="2051459" y="397400"/>
                      <a:pt x="2127194" y="436317"/>
                      <a:pt x="2203455" y="477601"/>
                    </a:cubicBezTo>
                    <a:lnTo>
                      <a:pt x="2296994" y="530121"/>
                    </a:lnTo>
                    <a:lnTo>
                      <a:pt x="2323986" y="546882"/>
                    </a:lnTo>
                    <a:lnTo>
                      <a:pt x="2357160" y="567482"/>
                    </a:lnTo>
                    <a:lnTo>
                      <a:pt x="2404890" y="598298"/>
                    </a:lnTo>
                    <a:lnTo>
                      <a:pt x="2415440" y="605928"/>
                    </a:lnTo>
                    <a:lnTo>
                      <a:pt x="2362991" y="493093"/>
                    </a:lnTo>
                    <a:cubicBezTo>
                      <a:pt x="2362991" y="493093"/>
                      <a:pt x="2362991" y="493093"/>
                      <a:pt x="2329266" y="483333"/>
                    </a:cubicBezTo>
                    <a:lnTo>
                      <a:pt x="2307060" y="476906"/>
                    </a:lnTo>
                    <a:lnTo>
                      <a:pt x="2313198" y="470584"/>
                    </a:lnTo>
                    <a:cubicBezTo>
                      <a:pt x="2335494" y="447752"/>
                      <a:pt x="2406858" y="375701"/>
                      <a:pt x="2460566" y="333037"/>
                    </a:cubicBezTo>
                    <a:lnTo>
                      <a:pt x="2482676" y="317005"/>
                    </a:lnTo>
                    <a:lnTo>
                      <a:pt x="2522361" y="296868"/>
                    </a:lnTo>
                    <a:lnTo>
                      <a:pt x="2554579" y="283748"/>
                    </a:lnTo>
                    <a:cubicBezTo>
                      <a:pt x="2588217" y="269017"/>
                      <a:pt x="2633417" y="251656"/>
                      <a:pt x="2694384" y="254812"/>
                    </a:cubicBezTo>
                    <a:cubicBezTo>
                      <a:pt x="2724868" y="256391"/>
                      <a:pt x="2759293" y="263098"/>
                      <a:pt x="2798186" y="277829"/>
                    </a:cubicBezTo>
                    <a:cubicBezTo>
                      <a:pt x="2951656" y="336753"/>
                      <a:pt x="2857052" y="260994"/>
                      <a:pt x="2857052" y="260994"/>
                    </a:cubicBezTo>
                    <a:cubicBezTo>
                      <a:pt x="2857052" y="260994"/>
                      <a:pt x="2858530" y="261224"/>
                      <a:pt x="2861191" y="261705"/>
                    </a:cubicBezTo>
                    <a:lnTo>
                      <a:pt x="2866568" y="262766"/>
                    </a:lnTo>
                    <a:lnTo>
                      <a:pt x="2867847" y="263215"/>
                    </a:lnTo>
                    <a:cubicBezTo>
                      <a:pt x="2872013" y="264887"/>
                      <a:pt x="2874182" y="265939"/>
                      <a:pt x="2874182" y="265939"/>
                    </a:cubicBezTo>
                    <a:cubicBezTo>
                      <a:pt x="2874182" y="265939"/>
                      <a:pt x="2875760" y="265775"/>
                      <a:pt x="2878772" y="265783"/>
                    </a:cubicBezTo>
                    <a:lnTo>
                      <a:pt x="2879970" y="265863"/>
                    </a:lnTo>
                    <a:lnTo>
                      <a:pt x="2909084" y="273357"/>
                    </a:lnTo>
                    <a:cubicBezTo>
                      <a:pt x="2937466" y="282038"/>
                      <a:pt x="2970577" y="295717"/>
                      <a:pt x="2989498" y="315709"/>
                    </a:cubicBezTo>
                    <a:cubicBezTo>
                      <a:pt x="3027340" y="357797"/>
                      <a:pt x="3391043" y="702920"/>
                      <a:pt x="3365815" y="925987"/>
                    </a:cubicBezTo>
                    <a:cubicBezTo>
                      <a:pt x="3351098" y="1060670"/>
                      <a:pt x="3227061" y="1315303"/>
                      <a:pt x="3233368" y="1376331"/>
                    </a:cubicBezTo>
                    <a:cubicBezTo>
                      <a:pt x="3234682" y="1385538"/>
                      <a:pt x="3236920" y="1397159"/>
                      <a:pt x="3239761" y="1410216"/>
                    </a:cubicBezTo>
                    <a:lnTo>
                      <a:pt x="3243622" y="1426604"/>
                    </a:lnTo>
                    <a:lnTo>
                      <a:pt x="3302854" y="1472111"/>
                    </a:lnTo>
                    <a:cubicBezTo>
                      <a:pt x="3370331" y="1532754"/>
                      <a:pt x="3422311" y="1609600"/>
                      <a:pt x="3442037" y="1705090"/>
                    </a:cubicBezTo>
                    <a:lnTo>
                      <a:pt x="3433973" y="1732860"/>
                    </a:lnTo>
                    <a:lnTo>
                      <a:pt x="3404867" y="1673697"/>
                    </a:lnTo>
                    <a:cubicBezTo>
                      <a:pt x="3399074" y="1661664"/>
                      <a:pt x="3393479" y="1649944"/>
                      <a:pt x="3388345" y="1639131"/>
                    </a:cubicBezTo>
                    <a:lnTo>
                      <a:pt x="3377441" y="1616053"/>
                    </a:lnTo>
                    <a:lnTo>
                      <a:pt x="3359581" y="1565598"/>
                    </a:lnTo>
                    <a:cubicBezTo>
                      <a:pt x="3359581" y="1565598"/>
                      <a:pt x="3359581" y="1565598"/>
                      <a:pt x="3361687" y="1582431"/>
                    </a:cubicBezTo>
                    <a:cubicBezTo>
                      <a:pt x="3361687" y="1582431"/>
                      <a:pt x="3366690" y="1593215"/>
                      <a:pt x="3374588" y="1610015"/>
                    </a:cubicBezTo>
                    <a:lnTo>
                      <a:pt x="3377441" y="1616053"/>
                    </a:lnTo>
                    <a:lnTo>
                      <a:pt x="3442901" y="1800978"/>
                    </a:lnTo>
                    <a:lnTo>
                      <a:pt x="3440408" y="1796829"/>
                    </a:lnTo>
                    <a:cubicBezTo>
                      <a:pt x="3438644" y="1793891"/>
                      <a:pt x="3436291" y="1789974"/>
                      <a:pt x="3433154" y="1784752"/>
                    </a:cubicBezTo>
                    <a:cubicBezTo>
                      <a:pt x="3433154" y="1784752"/>
                      <a:pt x="3414332" y="1768041"/>
                      <a:pt x="3397602" y="1761774"/>
                    </a:cubicBezTo>
                    <a:cubicBezTo>
                      <a:pt x="3380871" y="1753418"/>
                      <a:pt x="3349501" y="1755507"/>
                      <a:pt x="3349501" y="1755507"/>
                    </a:cubicBezTo>
                    <a:cubicBezTo>
                      <a:pt x="3349501" y="1755507"/>
                      <a:pt x="3380871" y="1768041"/>
                      <a:pt x="3395510" y="1772218"/>
                    </a:cubicBezTo>
                    <a:cubicBezTo>
                      <a:pt x="3406489" y="1773785"/>
                      <a:pt x="3429233" y="1791802"/>
                      <a:pt x="3439918" y="1800713"/>
                    </a:cubicBezTo>
                    <a:lnTo>
                      <a:pt x="3444055" y="1804238"/>
                    </a:lnTo>
                    <a:lnTo>
                      <a:pt x="3555468" y="2118980"/>
                    </a:lnTo>
                    <a:cubicBezTo>
                      <a:pt x="3555468" y="2118980"/>
                      <a:pt x="3553888" y="2108460"/>
                      <a:pt x="3553362" y="2091890"/>
                    </a:cubicBezTo>
                    <a:lnTo>
                      <a:pt x="3553487" y="2080908"/>
                    </a:lnTo>
                    <a:lnTo>
                      <a:pt x="3554536" y="2083695"/>
                    </a:lnTo>
                    <a:cubicBezTo>
                      <a:pt x="3566426" y="2115277"/>
                      <a:pt x="3569399" y="2123172"/>
                      <a:pt x="3570142" y="2125146"/>
                    </a:cubicBezTo>
                    <a:lnTo>
                      <a:pt x="3570375" y="2125765"/>
                    </a:lnTo>
                    <a:lnTo>
                      <a:pt x="3570326" y="2125774"/>
                    </a:lnTo>
                    <a:cubicBezTo>
                      <a:pt x="3545075" y="2130508"/>
                      <a:pt x="3536395" y="2124591"/>
                      <a:pt x="3524755" y="2128437"/>
                    </a:cubicBezTo>
                    <a:lnTo>
                      <a:pt x="3520991" y="2130652"/>
                    </a:lnTo>
                    <a:lnTo>
                      <a:pt x="3519898" y="2125754"/>
                    </a:lnTo>
                    <a:cubicBezTo>
                      <a:pt x="3517794" y="2116808"/>
                      <a:pt x="3515165" y="2106809"/>
                      <a:pt x="3513061" y="2102599"/>
                    </a:cubicBezTo>
                    <a:cubicBezTo>
                      <a:pt x="3510958" y="2096283"/>
                      <a:pt x="3498337" y="2064707"/>
                      <a:pt x="3485716" y="2058392"/>
                    </a:cubicBezTo>
                    <a:cubicBezTo>
                      <a:pt x="3475198" y="2052077"/>
                      <a:pt x="3435232" y="2037341"/>
                      <a:pt x="3422611" y="2039446"/>
                    </a:cubicBezTo>
                    <a:cubicBezTo>
                      <a:pt x="3409989" y="2039446"/>
                      <a:pt x="3397368" y="2045762"/>
                      <a:pt x="3384747" y="2043657"/>
                    </a:cubicBezTo>
                    <a:cubicBezTo>
                      <a:pt x="3372126" y="2041551"/>
                      <a:pt x="3334263" y="2031026"/>
                      <a:pt x="3334263" y="2031026"/>
                    </a:cubicBezTo>
                    <a:cubicBezTo>
                      <a:pt x="3378437" y="2058392"/>
                      <a:pt x="3378437" y="2058392"/>
                      <a:pt x="3378437" y="2058392"/>
                    </a:cubicBezTo>
                    <a:cubicBezTo>
                      <a:pt x="3378437" y="2058392"/>
                      <a:pt x="3359505" y="2079443"/>
                      <a:pt x="3357402" y="2092073"/>
                    </a:cubicBezTo>
                    <a:cubicBezTo>
                      <a:pt x="3348988" y="2111019"/>
                      <a:pt x="3351091" y="2140490"/>
                      <a:pt x="3351091" y="2140490"/>
                    </a:cubicBezTo>
                    <a:cubicBezTo>
                      <a:pt x="3317435" y="2140490"/>
                      <a:pt x="3317435" y="2140490"/>
                      <a:pt x="3317435" y="2140490"/>
                    </a:cubicBezTo>
                    <a:cubicBezTo>
                      <a:pt x="3317435" y="2140490"/>
                      <a:pt x="3348988" y="2148910"/>
                      <a:pt x="3359505" y="2155225"/>
                    </a:cubicBezTo>
                    <a:cubicBezTo>
                      <a:pt x="3370023" y="2161541"/>
                      <a:pt x="3395265" y="2172066"/>
                      <a:pt x="3416300" y="2180486"/>
                    </a:cubicBezTo>
                    <a:cubicBezTo>
                      <a:pt x="3432076" y="2186801"/>
                      <a:pt x="3457318" y="2199037"/>
                      <a:pt x="3468953" y="2204760"/>
                    </a:cubicBezTo>
                    <a:lnTo>
                      <a:pt x="3471183" y="2205864"/>
                    </a:lnTo>
                    <a:lnTo>
                      <a:pt x="3465112" y="2222558"/>
                    </a:lnTo>
                    <a:cubicBezTo>
                      <a:pt x="3458799" y="2247805"/>
                      <a:pt x="3418818" y="2359317"/>
                      <a:pt x="3404088" y="2397188"/>
                    </a:cubicBezTo>
                    <a:cubicBezTo>
                      <a:pt x="3389358" y="2435060"/>
                      <a:pt x="3303083" y="2544467"/>
                      <a:pt x="3303083" y="2544467"/>
                    </a:cubicBezTo>
                    <a:cubicBezTo>
                      <a:pt x="3303083" y="2544467"/>
                      <a:pt x="3383045" y="2468724"/>
                      <a:pt x="3395671" y="2456100"/>
                    </a:cubicBezTo>
                    <a:cubicBezTo>
                      <a:pt x="3410401" y="2443476"/>
                      <a:pt x="3429339" y="2411916"/>
                      <a:pt x="3450382" y="2386668"/>
                    </a:cubicBezTo>
                    <a:cubicBezTo>
                      <a:pt x="3469321" y="2363525"/>
                      <a:pt x="3515615" y="2209934"/>
                      <a:pt x="3526136" y="2184686"/>
                    </a:cubicBezTo>
                    <a:cubicBezTo>
                      <a:pt x="3538762" y="2157334"/>
                      <a:pt x="3574535" y="2159438"/>
                      <a:pt x="3618725" y="2163646"/>
                    </a:cubicBezTo>
                    <a:cubicBezTo>
                      <a:pt x="3665019" y="2167854"/>
                      <a:pt x="3707104" y="2155230"/>
                      <a:pt x="3751294" y="2136294"/>
                    </a:cubicBezTo>
                    <a:cubicBezTo>
                      <a:pt x="3772337" y="2126826"/>
                      <a:pt x="3786015" y="2113676"/>
                      <a:pt x="3799430" y="2104735"/>
                    </a:cubicBezTo>
                    <a:lnTo>
                      <a:pt x="3810437" y="2099831"/>
                    </a:lnTo>
                    <a:lnTo>
                      <a:pt x="3824461" y="2097367"/>
                    </a:lnTo>
                    <a:lnTo>
                      <a:pt x="3829342" y="2096510"/>
                    </a:lnTo>
                    <a:lnTo>
                      <a:pt x="3845987" y="2098423"/>
                    </a:lnTo>
                    <a:cubicBezTo>
                      <a:pt x="3885968" y="2111046"/>
                      <a:pt x="3894385" y="2134190"/>
                      <a:pt x="3904907" y="2180478"/>
                    </a:cubicBezTo>
                    <a:cubicBezTo>
                      <a:pt x="3915428" y="2226766"/>
                      <a:pt x="3885968" y="2315133"/>
                      <a:pt x="3885968" y="2315133"/>
                    </a:cubicBezTo>
                    <a:cubicBezTo>
                      <a:pt x="3885968" y="2315133"/>
                      <a:pt x="3885508" y="2319834"/>
                      <a:pt x="3884225" y="2328571"/>
                    </a:cubicBezTo>
                    <a:lnTo>
                      <a:pt x="3881324" y="2344937"/>
                    </a:lnTo>
                    <a:lnTo>
                      <a:pt x="3878738" y="2354578"/>
                    </a:lnTo>
                    <a:cubicBezTo>
                      <a:pt x="3870987" y="2383473"/>
                      <a:pt x="3863790" y="2410304"/>
                      <a:pt x="3857107" y="2435219"/>
                    </a:cubicBezTo>
                    <a:lnTo>
                      <a:pt x="3839183" y="2502042"/>
                    </a:lnTo>
                    <a:lnTo>
                      <a:pt x="3806236" y="2584501"/>
                    </a:lnTo>
                    <a:cubicBezTo>
                      <a:pt x="3765301" y="2675605"/>
                      <a:pt x="3703948" y="2779062"/>
                      <a:pt x="3612412" y="2876897"/>
                    </a:cubicBezTo>
                    <a:cubicBezTo>
                      <a:pt x="3370419" y="3137791"/>
                      <a:pt x="3046360" y="2935809"/>
                      <a:pt x="3004275" y="2912665"/>
                    </a:cubicBezTo>
                    <a:cubicBezTo>
                      <a:pt x="2962189" y="2889521"/>
                      <a:pt x="2852767" y="2792738"/>
                      <a:pt x="2812785" y="2759074"/>
                    </a:cubicBezTo>
                    <a:cubicBezTo>
                      <a:pt x="2770700" y="2725410"/>
                      <a:pt x="2726510" y="2651771"/>
                      <a:pt x="2726510" y="2651771"/>
                    </a:cubicBezTo>
                    <a:cubicBezTo>
                      <a:pt x="2726510" y="2651771"/>
                      <a:pt x="2724406" y="2649667"/>
                      <a:pt x="2722301" y="2655979"/>
                    </a:cubicBezTo>
                    <a:cubicBezTo>
                      <a:pt x="2720197" y="2662291"/>
                      <a:pt x="2699154" y="2727514"/>
                      <a:pt x="2686529" y="2750658"/>
                    </a:cubicBezTo>
                    <a:cubicBezTo>
                      <a:pt x="2676007" y="2771698"/>
                      <a:pt x="2661277" y="2782218"/>
                      <a:pt x="2646547" y="2799050"/>
                    </a:cubicBezTo>
                    <a:cubicBezTo>
                      <a:pt x="2633922" y="2817986"/>
                      <a:pt x="2612879" y="2845337"/>
                      <a:pt x="2593940" y="2887417"/>
                    </a:cubicBezTo>
                    <a:cubicBezTo>
                      <a:pt x="2575002" y="2929497"/>
                      <a:pt x="2606566" y="2963160"/>
                      <a:pt x="2606566" y="2963160"/>
                    </a:cubicBezTo>
                    <a:cubicBezTo>
                      <a:pt x="2627609" y="2988408"/>
                      <a:pt x="2697050" y="3005240"/>
                      <a:pt x="2724406" y="3001032"/>
                    </a:cubicBezTo>
                    <a:cubicBezTo>
                      <a:pt x="2654964" y="2986304"/>
                      <a:pt x="2614983" y="2916873"/>
                      <a:pt x="2614983" y="2916873"/>
                    </a:cubicBezTo>
                    <a:cubicBezTo>
                      <a:pt x="2614983" y="2916873"/>
                      <a:pt x="2614983" y="2916873"/>
                      <a:pt x="2636026" y="2931601"/>
                    </a:cubicBezTo>
                    <a:cubicBezTo>
                      <a:pt x="2654964" y="2946329"/>
                      <a:pt x="2688633" y="2969472"/>
                      <a:pt x="2741240" y="2975784"/>
                    </a:cubicBezTo>
                    <a:cubicBezTo>
                      <a:pt x="2793847" y="2982096"/>
                      <a:pt x="2823307" y="2935809"/>
                      <a:pt x="2823307" y="2935809"/>
                    </a:cubicBezTo>
                    <a:cubicBezTo>
                      <a:pt x="2823307" y="2935809"/>
                      <a:pt x="2823307" y="2935809"/>
                      <a:pt x="2869601" y="2874793"/>
                    </a:cubicBezTo>
                    <a:cubicBezTo>
                      <a:pt x="2869601" y="2874793"/>
                      <a:pt x="2869601" y="2874793"/>
                      <a:pt x="2909582" y="2914769"/>
                    </a:cubicBezTo>
                    <a:cubicBezTo>
                      <a:pt x="2909582" y="2914769"/>
                      <a:pt x="2838037" y="2988408"/>
                      <a:pt x="2804368" y="3009448"/>
                    </a:cubicBezTo>
                    <a:cubicBezTo>
                      <a:pt x="2770700" y="3030488"/>
                      <a:pt x="2715988" y="3045216"/>
                      <a:pt x="2631817" y="3019968"/>
                    </a:cubicBezTo>
                    <a:lnTo>
                      <a:pt x="2592812" y="2997729"/>
                    </a:lnTo>
                    <a:lnTo>
                      <a:pt x="2571463" y="2978979"/>
                    </a:lnTo>
                    <a:lnTo>
                      <a:pt x="2569646" y="2977384"/>
                    </a:lnTo>
                    <a:lnTo>
                      <a:pt x="2550477" y="2953365"/>
                    </a:lnTo>
                    <a:lnTo>
                      <a:pt x="2543509" y="2942341"/>
                    </a:lnTo>
                    <a:lnTo>
                      <a:pt x="2527951" y="2910199"/>
                    </a:lnTo>
                    <a:cubicBezTo>
                      <a:pt x="2524104" y="2900173"/>
                      <a:pt x="2522395" y="2893729"/>
                      <a:pt x="2522395" y="2893729"/>
                    </a:cubicBezTo>
                    <a:cubicBezTo>
                      <a:pt x="2522395" y="2893729"/>
                      <a:pt x="2522395" y="2893729"/>
                      <a:pt x="2457162" y="2748554"/>
                    </a:cubicBezTo>
                    <a:cubicBezTo>
                      <a:pt x="2457162" y="2748554"/>
                      <a:pt x="2396138" y="2689642"/>
                      <a:pt x="2362469" y="2651771"/>
                    </a:cubicBezTo>
                    <a:lnTo>
                      <a:pt x="2340024" y="2621933"/>
                    </a:lnTo>
                    <a:lnTo>
                      <a:pt x="2338457" y="2619477"/>
                    </a:lnTo>
                    <a:cubicBezTo>
                      <a:pt x="2304048" y="2565541"/>
                      <a:pt x="2304048" y="2565541"/>
                      <a:pt x="2304048" y="2565541"/>
                    </a:cubicBezTo>
                    <a:cubicBezTo>
                      <a:pt x="2304048" y="2565541"/>
                      <a:pt x="2271838" y="2433449"/>
                      <a:pt x="2335655" y="2318674"/>
                    </a:cubicBezTo>
                    <a:lnTo>
                      <a:pt x="2366996" y="2274192"/>
                    </a:lnTo>
                    <a:lnTo>
                      <a:pt x="2347572" y="2275513"/>
                    </a:lnTo>
                    <a:cubicBezTo>
                      <a:pt x="2338243" y="2274970"/>
                      <a:pt x="2329202" y="2273030"/>
                      <a:pt x="2320522" y="2269084"/>
                    </a:cubicBezTo>
                    <a:cubicBezTo>
                      <a:pt x="2253189" y="2237517"/>
                      <a:pt x="2057503" y="2182801"/>
                      <a:pt x="2038565" y="2062847"/>
                    </a:cubicBezTo>
                    <a:cubicBezTo>
                      <a:pt x="2024363" y="1972882"/>
                      <a:pt x="2014894" y="1779929"/>
                      <a:pt x="2043892" y="1618938"/>
                    </a:cubicBezTo>
                    <a:lnTo>
                      <a:pt x="2058099" y="1557525"/>
                    </a:lnTo>
                    <a:lnTo>
                      <a:pt x="2055755" y="1558228"/>
                    </a:lnTo>
                    <a:lnTo>
                      <a:pt x="2050316" y="1559430"/>
                    </a:lnTo>
                    <a:cubicBezTo>
                      <a:pt x="1969609" y="1577348"/>
                      <a:pt x="1639648" y="1651436"/>
                      <a:pt x="1525518" y="1690090"/>
                    </a:cubicBezTo>
                    <a:cubicBezTo>
                      <a:pt x="1395085" y="1734267"/>
                      <a:pt x="1087937" y="1875211"/>
                      <a:pt x="946985" y="1875211"/>
                    </a:cubicBezTo>
                    <a:cubicBezTo>
                      <a:pt x="751335" y="1873108"/>
                      <a:pt x="559893" y="1858382"/>
                      <a:pt x="559893" y="1858382"/>
                    </a:cubicBezTo>
                    <a:cubicBezTo>
                      <a:pt x="559893" y="1858382"/>
                      <a:pt x="488365" y="1593323"/>
                      <a:pt x="412630" y="1498659"/>
                    </a:cubicBezTo>
                    <a:cubicBezTo>
                      <a:pt x="334791" y="1403995"/>
                      <a:pt x="94962" y="1208355"/>
                      <a:pt x="46576" y="1063204"/>
                    </a:cubicBezTo>
                    <a:cubicBezTo>
                      <a:pt x="293" y="915949"/>
                      <a:pt x="-24952" y="798144"/>
                      <a:pt x="36057" y="665615"/>
                    </a:cubicBezTo>
                    <a:cubicBezTo>
                      <a:pt x="94962" y="535189"/>
                      <a:pt x="191735" y="459457"/>
                      <a:pt x="191735" y="459457"/>
                    </a:cubicBezTo>
                    <a:cubicBezTo>
                      <a:pt x="191735" y="459457"/>
                      <a:pt x="294819" y="455250"/>
                      <a:pt x="374762" y="465768"/>
                    </a:cubicBezTo>
                    <a:cubicBezTo>
                      <a:pt x="456809" y="476287"/>
                      <a:pt x="587242" y="499427"/>
                      <a:pt x="677704" y="528878"/>
                    </a:cubicBezTo>
                    <a:cubicBezTo>
                      <a:pt x="766061" y="558329"/>
                      <a:pt x="1090040" y="713999"/>
                      <a:pt x="1090040" y="713999"/>
                    </a:cubicBezTo>
                    <a:cubicBezTo>
                      <a:pt x="736609" y="514152"/>
                      <a:pt x="736609" y="514152"/>
                      <a:pt x="736609" y="514152"/>
                    </a:cubicBezTo>
                    <a:cubicBezTo>
                      <a:pt x="503092" y="423695"/>
                      <a:pt x="503092" y="423695"/>
                      <a:pt x="503092" y="423695"/>
                    </a:cubicBezTo>
                    <a:cubicBezTo>
                      <a:pt x="503092" y="423695"/>
                      <a:pt x="606176" y="362690"/>
                      <a:pt x="700845" y="246989"/>
                    </a:cubicBezTo>
                    <a:cubicBezTo>
                      <a:pt x="795514" y="131289"/>
                      <a:pt x="803929" y="89216"/>
                      <a:pt x="867042" y="47143"/>
                    </a:cubicBezTo>
                    <a:cubicBezTo>
                      <a:pt x="914377" y="17166"/>
                      <a:pt x="946327" y="3755"/>
                      <a:pt x="990408" y="698"/>
                    </a:cubicBezTo>
                    <a:close/>
                  </a:path>
                </a:pathLst>
              </a:custGeom>
              <a:solidFill>
                <a:srgbClr val="FAED22"/>
              </a:solidFill>
              <a:ln w="3175">
                <a:solidFill>
                  <a:schemeClr val="tx1"/>
                </a:solidFill>
              </a:ln>
            </p:spPr>
            <p:txBody>
              <a:bodyPr vert="horz" wrap="square" lIns="89642" tIns="44821" rIns="89642" bIns="44821" numCol="1" anchor="t" anchorCtr="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000000"/>
                  </a:solidFill>
                  <a:effectLst/>
                  <a:uLnTx/>
                  <a:uFillTx/>
                </a:endParaRPr>
              </a:p>
            </p:txBody>
          </p:sp>
        </p:grpSp>
      </p:grpSp>
    </p:spTree>
    <p:extLst>
      <p:ext uri="{BB962C8B-B14F-4D97-AF65-F5344CB8AC3E}">
        <p14:creationId xmlns:p14="http://schemas.microsoft.com/office/powerpoint/2010/main" val="389679639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Hive architecture</a:t>
            </a:r>
          </a:p>
        </p:txBody>
      </p:sp>
      <p:sp>
        <p:nvSpPr>
          <p:cNvPr id="30" name="Title 2"/>
          <p:cNvSpPr txBox="1">
            <a:spLocks/>
          </p:cNvSpPr>
          <p:nvPr/>
        </p:nvSpPr>
        <p:spPr bwMode="ltGray">
          <a:xfrm>
            <a:off x="274640" y="1570636"/>
            <a:ext cx="4507992" cy="4898441"/>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alpha val="92000"/>
            </a:schemeClr>
          </a:solidFill>
          <a:ln>
            <a:noFill/>
          </a:ln>
          <a:extLst/>
        </p:spPr>
        <p:txBody>
          <a:bodyPr vert="horz" wrap="square" lIns="326473" tIns="886140" rIns="274320" bIns="886140" numCol="1" rtlCol="0" anchor="ctr" anchorCtr="0" compatLnSpc="1">
            <a:prstTxWarp prst="textNoShape">
              <a:avLst/>
            </a:prstTxWarp>
            <a:noAutofit/>
          </a:bodyPr>
          <a:lstStyle>
            <a:lvl1pPr algn="l" defTabSz="932742" rtl="0" eaLnBrk="1" latinLnBrk="0" hangingPunct="1">
              <a:lnSpc>
                <a:spcPct val="90000"/>
              </a:lnSpc>
              <a:spcBef>
                <a:spcPct val="0"/>
              </a:spcBef>
              <a:buNone/>
              <a:defRPr lang="en-US" sz="6000" b="0" kern="1200" cap="none" spc="-204" baseline="0" dirty="0">
                <a:ln w="3175">
                  <a:noFill/>
                </a:ln>
                <a:gradFill>
                  <a:gsLst>
                    <a:gs pos="100000">
                      <a:schemeClr val="bg1"/>
                    </a:gs>
                    <a:gs pos="0">
                      <a:schemeClr val="bg1"/>
                    </a:gs>
                  </a:gsLst>
                  <a:lin ang="5400000" scaled="0"/>
                </a:gradFill>
                <a:effectLst/>
                <a:latin typeface="+mj-lt"/>
                <a:ea typeface="+mn-ea"/>
                <a:cs typeface="Arial" charset="0"/>
              </a:defRPr>
            </a:lvl1pPr>
          </a:lstStyle>
          <a:p>
            <a:pPr marL="342900" marR="0" lvl="0" indent="-342900" algn="l" defTabSz="932742" rtl="0" eaLnBrk="1" fontAlgn="auto" latinLnBrk="0" hangingPunct="1">
              <a:lnSpc>
                <a:spcPct val="90000"/>
              </a:lnSpc>
              <a:spcBef>
                <a:spcPts val="600"/>
              </a:spcBef>
              <a:spcAft>
                <a:spcPts val="600"/>
              </a:spcAft>
              <a:buClrTx/>
              <a:buSzTx/>
              <a:buFont typeface="Arial" panose="020B0604020202020204" pitchFamily="34" charset="0"/>
              <a:buChar char="•"/>
              <a:tabLst/>
              <a:defRPr/>
            </a:pPr>
            <a:r>
              <a:rPr kumimoji="0" lang="en-US" sz="2200" b="0" i="0" u="none" strike="noStrike" kern="0" cap="none" spc="0" normalizeH="0" baseline="0" noProof="0" dirty="0">
                <a:ln w="3175">
                  <a:noFill/>
                </a:ln>
                <a:solidFill>
                  <a:srgbClr val="FFFFFF"/>
                </a:solidFill>
                <a:effectLst/>
                <a:uLnTx/>
                <a:uFillTx/>
                <a:latin typeface="Segoe UI Light"/>
                <a:ea typeface="+mn-ea"/>
                <a:cs typeface="Arial" charset="0"/>
              </a:rPr>
              <a:t>Built on top of Hadoop to provide data management, querying, and analysis</a:t>
            </a:r>
          </a:p>
          <a:p>
            <a:pPr marL="342900" marR="0" lvl="0" indent="-342900" algn="l" defTabSz="932742" rtl="0" eaLnBrk="1" fontAlgn="auto" latinLnBrk="0" hangingPunct="1">
              <a:lnSpc>
                <a:spcPct val="90000"/>
              </a:lnSpc>
              <a:spcBef>
                <a:spcPts val="600"/>
              </a:spcBef>
              <a:spcAft>
                <a:spcPts val="600"/>
              </a:spcAft>
              <a:buClrTx/>
              <a:buSzTx/>
              <a:buFont typeface="Arial" panose="020B0604020202020204" pitchFamily="34" charset="0"/>
              <a:buChar char="•"/>
              <a:tabLst/>
              <a:defRPr/>
            </a:pPr>
            <a:r>
              <a:rPr kumimoji="0" lang="en-US" sz="2200" b="0" i="0" u="none" strike="noStrike" kern="0" cap="none" spc="0" normalizeH="0" baseline="0" noProof="0" dirty="0">
                <a:ln w="3175">
                  <a:noFill/>
                </a:ln>
                <a:solidFill>
                  <a:srgbClr val="FFFFFF"/>
                </a:solidFill>
                <a:effectLst/>
                <a:uLnTx/>
                <a:uFillTx/>
                <a:latin typeface="Segoe UI Light"/>
                <a:ea typeface="+mn-ea"/>
                <a:cs typeface="Arial" charset="0"/>
              </a:rPr>
              <a:t>Access and query data through simple SQL-like statements, called </a:t>
            </a:r>
            <a:r>
              <a:rPr kumimoji="0" lang="en-US" sz="2200" b="1" i="0" u="none" strike="noStrike" kern="0" cap="none" spc="0" normalizeH="0" baseline="0" noProof="0" dirty="0">
                <a:ln w="3175">
                  <a:noFill/>
                </a:ln>
                <a:solidFill>
                  <a:srgbClr val="FFFFFF"/>
                </a:solidFill>
                <a:effectLst/>
                <a:uLnTx/>
                <a:uFillTx/>
                <a:latin typeface="Segoe UI Light"/>
                <a:ea typeface="+mn-ea"/>
                <a:cs typeface="Arial" charset="0"/>
              </a:rPr>
              <a:t>Hive queries</a:t>
            </a:r>
          </a:p>
          <a:p>
            <a:pPr marL="342900" marR="0" lvl="0" indent="-342900" algn="l" defTabSz="932742" rtl="0" eaLnBrk="1" fontAlgn="auto" latinLnBrk="0" hangingPunct="1">
              <a:lnSpc>
                <a:spcPct val="90000"/>
              </a:lnSpc>
              <a:spcBef>
                <a:spcPts val="600"/>
              </a:spcBef>
              <a:spcAft>
                <a:spcPts val="600"/>
              </a:spcAft>
              <a:buClrTx/>
              <a:buSzTx/>
              <a:buFont typeface="Arial" panose="020B0604020202020204" pitchFamily="34" charset="0"/>
              <a:buChar char="•"/>
              <a:tabLst/>
              <a:defRPr/>
            </a:pPr>
            <a:r>
              <a:rPr kumimoji="0" lang="en-US" sz="2200" b="0" i="0" u="none" strike="noStrike" kern="0" cap="none" spc="0" normalizeH="0" baseline="0" noProof="0" dirty="0">
                <a:ln w="3175">
                  <a:noFill/>
                </a:ln>
                <a:solidFill>
                  <a:srgbClr val="FFFFFF"/>
                </a:solidFill>
                <a:effectLst/>
                <a:uLnTx/>
                <a:uFillTx/>
                <a:latin typeface="Segoe UI Light"/>
                <a:ea typeface="+mn-ea"/>
                <a:cs typeface="Arial" charset="0"/>
              </a:rPr>
              <a:t>In short, Hive compiles, Hadoop executes</a:t>
            </a:r>
          </a:p>
        </p:txBody>
      </p:sp>
      <p:sp>
        <p:nvSpPr>
          <p:cNvPr id="28" name="Content Placeholder 7"/>
          <p:cNvSpPr txBox="1">
            <a:spLocks/>
          </p:cNvSpPr>
          <p:nvPr/>
        </p:nvSpPr>
        <p:spPr bwMode="auto">
          <a:xfrm>
            <a:off x="5989637" y="4008835"/>
            <a:ext cx="5890634" cy="2030471"/>
          </a:xfrm>
          <a:prstGeom prst="rect">
            <a:avLst/>
          </a:prstGeom>
          <a:no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49702" tIns="99402" rIns="49702" bIns="41768"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32742" rtl="0" eaLnBrk="1" fontAlgn="base" latinLnBrk="0" hangingPunct="1">
              <a:lnSpc>
                <a:spcPct val="90000"/>
              </a:lnSpc>
              <a:spcBef>
                <a:spcPts val="600"/>
              </a:spcBef>
              <a:spcAft>
                <a:spcPct val="0"/>
              </a:spcAft>
              <a:buClrTx/>
              <a:buSzTx/>
              <a:buFont typeface="Arial" panose="020B0604020202020204" pitchFamily="34" charset="0"/>
              <a:buNone/>
              <a:tabLst/>
              <a:defRPr/>
            </a:pPr>
            <a:r>
              <a:rPr kumimoji="0" lang="en-US" sz="2400" b="0" i="0" u="none" strike="noStrike" kern="1200" cap="none" spc="0" normalizeH="0" baseline="0" noProof="0" dirty="0">
                <a:ln>
                  <a:solidFill>
                    <a:srgbClr val="FFFFFF">
                      <a:alpha val="0"/>
                    </a:srgbClr>
                  </a:solidFill>
                </a:ln>
                <a:solidFill>
                  <a:srgbClr val="505050"/>
                </a:solidFill>
                <a:effectLst/>
                <a:uLnTx/>
                <a:uFillTx/>
                <a:latin typeface="Segoe UI"/>
                <a:ea typeface="+mn-ea"/>
                <a:cs typeface="+mn-cs"/>
              </a:rPr>
              <a:t>Hadoop</a:t>
            </a:r>
          </a:p>
        </p:txBody>
      </p:sp>
      <p:sp>
        <p:nvSpPr>
          <p:cNvPr id="29" name="Rectangle 28"/>
          <p:cNvSpPr/>
          <p:nvPr/>
        </p:nvSpPr>
        <p:spPr bwMode="auto">
          <a:xfrm>
            <a:off x="7447068" y="4306551"/>
            <a:ext cx="1111493" cy="848420"/>
          </a:xfrm>
          <a:prstGeom prst="rect">
            <a:avLst/>
          </a:prstGeom>
          <a:solidFill>
            <a:srgbClr val="00BCF2"/>
          </a:solidFill>
          <a:ln w="25400" cap="flat" cmpd="sng" algn="ctr">
            <a:noFill/>
            <a:prstDash val="solid"/>
            <a:headEnd type="none" w="med" len="med"/>
            <a:tailEnd type="none" w="med" len="med"/>
          </a:ln>
          <a:effectLst/>
        </p:spPr>
        <p:txBody>
          <a:bodyPr rot="0" spcFirstLastPara="0" vertOverflow="overflow" horzOverflow="overflow" vert="horz" wrap="square" lIns="49702" tIns="99402" rIns="49702" bIns="41768" numCol="1" spcCol="0" rtlCol="0" fromWordArt="0" anchor="b" anchorCtr="0" forceAA="0" compatLnSpc="1">
            <a:prstTxWarp prst="textNoShape">
              <a:avLst/>
            </a:prstTxWarp>
            <a:noAutofit/>
          </a:bodyPr>
          <a:lstStyle/>
          <a:p>
            <a:pPr marL="0" marR="0" lvl="0" indent="0" algn="l" defTabSz="602693"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pitchFamily="34" charset="0"/>
                <a:ea typeface="Segoe UI" pitchFamily="34" charset="0"/>
                <a:cs typeface="Segoe UI" pitchFamily="34" charset="0"/>
              </a:rPr>
              <a:t>Head node</a:t>
            </a:r>
          </a:p>
        </p:txBody>
      </p:sp>
      <p:sp>
        <p:nvSpPr>
          <p:cNvPr id="31" name="Rectangle 30"/>
          <p:cNvSpPr/>
          <p:nvPr/>
        </p:nvSpPr>
        <p:spPr bwMode="auto">
          <a:xfrm>
            <a:off x="8677323" y="4306550"/>
            <a:ext cx="1198514" cy="848420"/>
          </a:xfrm>
          <a:prstGeom prst="rect">
            <a:avLst/>
          </a:prstGeom>
          <a:solidFill>
            <a:srgbClr val="00BCF2"/>
          </a:solidFill>
          <a:ln w="25400" cap="flat" cmpd="sng" algn="ctr">
            <a:noFill/>
            <a:prstDash val="solid"/>
            <a:headEnd type="none" w="med" len="med"/>
            <a:tailEnd type="none" w="med" len="med"/>
          </a:ln>
          <a:effectLst/>
        </p:spPr>
        <p:txBody>
          <a:bodyPr rot="0" spcFirstLastPara="0" vertOverflow="overflow" horzOverflow="overflow" vert="horz" wrap="square" lIns="49702" tIns="99402" rIns="49702" bIns="41768" numCol="1" spcCol="0" rtlCol="0" fromWordArt="0" anchor="b" anchorCtr="0" forceAA="0" compatLnSpc="1">
            <a:prstTxWarp prst="textNoShape">
              <a:avLst/>
            </a:prstTxWarp>
            <a:noAutofit/>
          </a:bodyPr>
          <a:lstStyle/>
          <a:p>
            <a:pPr marL="0" marR="0" lvl="0" indent="0" algn="l" defTabSz="602693"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pitchFamily="34" charset="0"/>
                <a:ea typeface="Segoe UI" pitchFamily="34" charset="0"/>
                <a:cs typeface="Segoe UI" pitchFamily="34" charset="0"/>
              </a:rPr>
              <a:t>Name node</a:t>
            </a:r>
          </a:p>
        </p:txBody>
      </p:sp>
      <p:sp>
        <p:nvSpPr>
          <p:cNvPr id="32" name="Rectangle 31"/>
          <p:cNvSpPr/>
          <p:nvPr/>
        </p:nvSpPr>
        <p:spPr bwMode="auto">
          <a:xfrm>
            <a:off x="7447069" y="5235854"/>
            <a:ext cx="2428768" cy="848420"/>
          </a:xfrm>
          <a:prstGeom prst="rect">
            <a:avLst/>
          </a:prstGeom>
          <a:solidFill>
            <a:srgbClr val="00BCF2"/>
          </a:solidFill>
          <a:ln w="25400" cap="flat" cmpd="sng" algn="ctr">
            <a:noFill/>
            <a:prstDash val="solid"/>
            <a:headEnd type="none" w="med" len="med"/>
            <a:tailEnd type="none" w="med" len="med"/>
          </a:ln>
          <a:effectLst/>
        </p:spPr>
        <p:txBody>
          <a:bodyPr rot="0" spcFirstLastPara="0" vertOverflow="overflow" horzOverflow="overflow" vert="horz" wrap="square" lIns="49702" tIns="99402" rIns="49702" bIns="41768" numCol="1" spcCol="0" rtlCol="0" fromWordArt="0" anchor="b" anchorCtr="0" forceAA="0" compatLnSpc="1">
            <a:prstTxWarp prst="textNoShape">
              <a:avLst/>
            </a:prstTxWarp>
            <a:noAutofit/>
          </a:bodyPr>
          <a:lstStyle/>
          <a:p>
            <a:pPr marL="0" marR="0" lvl="0" indent="0" algn="ctr" defTabSz="602693"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pitchFamily="34" charset="0"/>
                <a:ea typeface="Segoe UI" pitchFamily="34" charset="0"/>
                <a:cs typeface="Segoe UI" pitchFamily="34" charset="0"/>
              </a:rPr>
              <a:t>Data nodes/task nodes</a:t>
            </a:r>
          </a:p>
        </p:txBody>
      </p:sp>
      <p:pic>
        <p:nvPicPr>
          <p:cNvPr id="33" name="Picture 2" descr="\\MAGNUM\Projects\Microsoft\Cloud Power FY12\Design\Icons\PNGs\Cloud_on_your_terms.png"/>
          <p:cNvPicPr>
            <a:picLocks noChangeAspect="1" noChangeArrowheads="1"/>
          </p:cNvPicPr>
          <p:nvPr/>
        </p:nvPicPr>
        <p:blipFill>
          <a:blip r:embed="rId3" cstate="print">
            <a:lum bright="100000"/>
          </a:blip>
          <a:stretch>
            <a:fillRect/>
          </a:stretch>
        </p:blipFill>
        <p:spPr bwMode="auto">
          <a:xfrm>
            <a:off x="8303133" y="5135296"/>
            <a:ext cx="758792" cy="758792"/>
          </a:xfrm>
          <a:prstGeom prst="rect">
            <a:avLst/>
          </a:prstGeom>
          <a:noFill/>
          <a:ln>
            <a:noFill/>
          </a:ln>
        </p:spPr>
      </p:pic>
      <p:pic>
        <p:nvPicPr>
          <p:cNvPr id="35" name="Picture 2" descr="\\MAGNUM\Projects\Microsoft\Cloud Power FY12\Design\ICONS_PNG\Tower.png"/>
          <p:cNvPicPr>
            <a:picLocks noChangeAspect="1" noChangeArrowheads="1"/>
          </p:cNvPicPr>
          <p:nvPr/>
        </p:nvPicPr>
        <p:blipFill>
          <a:blip r:embed="rId4" cstate="print">
            <a:lum bright="100000"/>
          </a:blip>
          <a:stretch>
            <a:fillRect/>
          </a:stretch>
        </p:blipFill>
        <p:spPr bwMode="auto">
          <a:xfrm>
            <a:off x="7610601" y="4276988"/>
            <a:ext cx="688792" cy="688792"/>
          </a:xfrm>
          <a:prstGeom prst="rect">
            <a:avLst/>
          </a:prstGeom>
          <a:noFill/>
        </p:spPr>
      </p:pic>
      <p:pic>
        <p:nvPicPr>
          <p:cNvPr id="37" name="Picture 2" descr="\\MAGNUM\Projects\Microsoft\Cloud Power FY12\Design\ICONS_PNG\Tower.png"/>
          <p:cNvPicPr>
            <a:picLocks noChangeAspect="1" noChangeArrowheads="1"/>
          </p:cNvPicPr>
          <p:nvPr/>
        </p:nvPicPr>
        <p:blipFill>
          <a:blip r:embed="rId4" cstate="print">
            <a:lum bright="100000"/>
          </a:blip>
          <a:stretch>
            <a:fillRect/>
          </a:stretch>
        </p:blipFill>
        <p:spPr bwMode="auto">
          <a:xfrm>
            <a:off x="8942092" y="4313656"/>
            <a:ext cx="688792" cy="688792"/>
          </a:xfrm>
          <a:prstGeom prst="rect">
            <a:avLst/>
          </a:prstGeom>
          <a:noFill/>
        </p:spPr>
      </p:pic>
      <p:sp>
        <p:nvSpPr>
          <p:cNvPr id="68" name="Content Placeholder 7"/>
          <p:cNvSpPr txBox="1">
            <a:spLocks/>
          </p:cNvSpPr>
          <p:nvPr/>
        </p:nvSpPr>
        <p:spPr bwMode="auto">
          <a:xfrm>
            <a:off x="5989637" y="2355658"/>
            <a:ext cx="5890634" cy="1575581"/>
          </a:xfrm>
          <a:prstGeom prst="rect">
            <a:avLst/>
          </a:prstGeom>
          <a:no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49702" tIns="99402" rIns="49702" bIns="41768"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32742" rtl="0" eaLnBrk="1" fontAlgn="base" latinLnBrk="0" hangingPunct="1">
              <a:lnSpc>
                <a:spcPct val="90000"/>
              </a:lnSpc>
              <a:spcBef>
                <a:spcPts val="600"/>
              </a:spcBef>
              <a:spcAft>
                <a:spcPct val="0"/>
              </a:spcAft>
              <a:buClrTx/>
              <a:buSzTx/>
              <a:buFont typeface="Arial" panose="020B0604020202020204" pitchFamily="34" charset="0"/>
              <a:buNone/>
              <a:tabLst/>
              <a:defRPr/>
            </a:pPr>
            <a:r>
              <a:rPr kumimoji="0" lang="en-US" sz="2400" b="0" i="0" u="none" strike="noStrike" kern="1200" cap="none" spc="0" normalizeH="0" baseline="0" noProof="0" dirty="0">
                <a:ln>
                  <a:solidFill>
                    <a:srgbClr val="FFFFFF">
                      <a:alpha val="0"/>
                    </a:srgbClr>
                  </a:solidFill>
                </a:ln>
                <a:solidFill>
                  <a:srgbClr val="505050"/>
                </a:solidFill>
                <a:effectLst/>
                <a:uLnTx/>
                <a:uFillTx/>
                <a:latin typeface="Segoe UI"/>
                <a:ea typeface="+mn-ea"/>
                <a:cs typeface="+mn-cs"/>
              </a:rPr>
              <a:t>Hive</a:t>
            </a:r>
          </a:p>
        </p:txBody>
      </p:sp>
      <p:sp>
        <p:nvSpPr>
          <p:cNvPr id="70" name="Rectangle 69"/>
          <p:cNvSpPr/>
          <p:nvPr/>
        </p:nvSpPr>
        <p:spPr bwMode="auto">
          <a:xfrm>
            <a:off x="7738319" y="2274774"/>
            <a:ext cx="695874" cy="726289"/>
          </a:xfrm>
          <a:prstGeom prst="rect">
            <a:avLst/>
          </a:prstGeom>
          <a:solidFill>
            <a:srgbClr val="00BCF2"/>
          </a:solidFill>
          <a:ln w="25400" cap="flat" cmpd="sng" algn="ctr">
            <a:noFill/>
            <a:prstDash val="solid"/>
            <a:headEnd type="none" w="med" len="med"/>
            <a:tailEnd type="none" w="med" len="med"/>
          </a:ln>
          <a:effectLst/>
        </p:spPr>
        <p:txBody>
          <a:bodyPr rot="0" spcFirstLastPara="0" vertOverflow="overflow" horzOverflow="overflow" vert="horz" wrap="square" lIns="49702" tIns="99402" rIns="49702" bIns="41768" numCol="1" spcCol="0" rtlCol="0" fromWordArt="0" anchor="b" anchorCtr="0" forceAA="0" compatLnSpc="1">
            <a:prstTxWarp prst="textNoShape">
              <a:avLst/>
            </a:prstTxWarp>
            <a:noAutofit/>
          </a:bodyPr>
          <a:lstStyle/>
          <a:p>
            <a:pPr marL="0" marR="0" lvl="0" indent="0" algn="l" defTabSz="602693"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pitchFamily="34" charset="0"/>
                <a:ea typeface="Segoe UI" pitchFamily="34" charset="0"/>
                <a:cs typeface="Segoe UI" pitchFamily="34" charset="0"/>
              </a:rPr>
              <a:t>JDBC</a:t>
            </a:r>
          </a:p>
        </p:txBody>
      </p:sp>
      <p:sp>
        <p:nvSpPr>
          <p:cNvPr id="71" name="Rectangle 70"/>
          <p:cNvSpPr/>
          <p:nvPr/>
        </p:nvSpPr>
        <p:spPr bwMode="auto">
          <a:xfrm>
            <a:off x="7011331" y="2274775"/>
            <a:ext cx="687952" cy="726289"/>
          </a:xfrm>
          <a:prstGeom prst="rect">
            <a:avLst/>
          </a:prstGeom>
          <a:solidFill>
            <a:srgbClr val="00BCF2"/>
          </a:solidFill>
          <a:ln w="25400" cap="flat" cmpd="sng" algn="ctr">
            <a:noFill/>
            <a:prstDash val="solid"/>
            <a:headEnd type="none" w="med" len="med"/>
            <a:tailEnd type="none" w="med" len="med"/>
          </a:ln>
          <a:effectLst/>
        </p:spPr>
        <p:txBody>
          <a:bodyPr rot="0" spcFirstLastPara="0" vertOverflow="overflow" horzOverflow="overflow" vert="horz" wrap="square" lIns="49702" tIns="99402" rIns="49702" bIns="41768" numCol="1" spcCol="0" rtlCol="0" fromWordArt="0" anchor="b" anchorCtr="0" forceAA="0" compatLnSpc="1">
            <a:prstTxWarp prst="textNoShape">
              <a:avLst/>
            </a:prstTxWarp>
            <a:noAutofit/>
          </a:bodyPr>
          <a:lstStyle/>
          <a:p>
            <a:pPr marL="0" marR="0" lvl="0" indent="0" algn="l" defTabSz="602693"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pitchFamily="34" charset="0"/>
                <a:ea typeface="Segoe UI" pitchFamily="34" charset="0"/>
                <a:cs typeface="Segoe UI" pitchFamily="34" charset="0"/>
              </a:rPr>
              <a:t>ODBC</a:t>
            </a:r>
          </a:p>
        </p:txBody>
      </p:sp>
      <p:sp>
        <p:nvSpPr>
          <p:cNvPr id="72" name="Rectangle 71"/>
          <p:cNvSpPr/>
          <p:nvPr/>
        </p:nvSpPr>
        <p:spPr bwMode="auto">
          <a:xfrm>
            <a:off x="8499769" y="2264741"/>
            <a:ext cx="967712" cy="1102707"/>
          </a:xfrm>
          <a:prstGeom prst="rect">
            <a:avLst/>
          </a:prstGeom>
          <a:solidFill>
            <a:srgbClr val="00BCF2"/>
          </a:solidFill>
          <a:ln w="25400" cap="flat" cmpd="sng" algn="ctr">
            <a:noFill/>
            <a:prstDash val="solid"/>
            <a:headEnd type="none" w="med" len="med"/>
            <a:tailEnd type="none" w="med" len="med"/>
          </a:ln>
          <a:effectLst/>
        </p:spPr>
        <p:txBody>
          <a:bodyPr rot="0" spcFirstLastPara="0" vertOverflow="overflow" horzOverflow="overflow" vert="horz" wrap="square" lIns="49702" tIns="99402" rIns="49702" bIns="41768" numCol="1" spcCol="0" rtlCol="0" fromWordArt="0" anchor="b" anchorCtr="0" forceAA="0" compatLnSpc="1">
            <a:prstTxWarp prst="textNoShape">
              <a:avLst/>
            </a:prstTxWarp>
            <a:noAutofit/>
          </a:bodyPr>
          <a:lstStyle/>
          <a:p>
            <a:pPr marL="0" marR="0" lvl="0" indent="0" algn="l" defTabSz="602693"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pitchFamily="34" charset="0"/>
                <a:ea typeface="Segoe UI" pitchFamily="34" charset="0"/>
                <a:cs typeface="Segoe UI" pitchFamily="34" charset="0"/>
              </a:rPr>
              <a:t>Hive web interface (HWI)</a:t>
            </a:r>
          </a:p>
        </p:txBody>
      </p:sp>
      <p:sp>
        <p:nvSpPr>
          <p:cNvPr id="73" name="Rectangle 72"/>
          <p:cNvSpPr/>
          <p:nvPr/>
        </p:nvSpPr>
        <p:spPr bwMode="auto">
          <a:xfrm>
            <a:off x="10654932" y="2278062"/>
            <a:ext cx="1103668" cy="1505180"/>
          </a:xfrm>
          <a:prstGeom prst="rect">
            <a:avLst/>
          </a:prstGeom>
          <a:solidFill>
            <a:srgbClr val="00BCF2"/>
          </a:solidFill>
          <a:ln w="25400" cap="flat" cmpd="sng" algn="ctr">
            <a:noFill/>
            <a:prstDash val="solid"/>
            <a:headEnd type="none" w="med" len="med"/>
            <a:tailEnd type="none" w="med" len="med"/>
          </a:ln>
          <a:effectLst/>
        </p:spPr>
        <p:txBody>
          <a:bodyPr rot="0" spcFirstLastPara="0" vertOverflow="overflow" horzOverflow="overflow" vert="horz" wrap="square" lIns="49702" tIns="99402" rIns="49702" bIns="41768" numCol="1" spcCol="0" rtlCol="0" fromWordArt="0" anchor="b" anchorCtr="0" forceAA="0" compatLnSpc="1">
            <a:prstTxWarp prst="textNoShape">
              <a:avLst/>
            </a:prstTxWarp>
            <a:noAutofit/>
          </a:bodyPr>
          <a:lstStyle/>
          <a:p>
            <a:pPr marL="0" marR="0" lvl="0" indent="0" algn="l" defTabSz="602693"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pitchFamily="34" charset="0"/>
                <a:ea typeface="Segoe UI" pitchFamily="34" charset="0"/>
                <a:cs typeface="Segoe UI" pitchFamily="34" charset="0"/>
              </a:rPr>
              <a:t>Metastore</a:t>
            </a:r>
          </a:p>
        </p:txBody>
      </p:sp>
      <p:sp>
        <p:nvSpPr>
          <p:cNvPr id="74" name="Rectangle 73"/>
          <p:cNvSpPr/>
          <p:nvPr/>
        </p:nvSpPr>
        <p:spPr bwMode="auto">
          <a:xfrm>
            <a:off x="7002240" y="3055533"/>
            <a:ext cx="1431953" cy="311915"/>
          </a:xfrm>
          <a:prstGeom prst="rect">
            <a:avLst/>
          </a:prstGeom>
          <a:solidFill>
            <a:srgbClr val="00BCF2"/>
          </a:solidFill>
          <a:ln w="25400" cap="flat" cmpd="sng" algn="ctr">
            <a:noFill/>
            <a:prstDash val="solid"/>
            <a:headEnd type="none" w="med" len="med"/>
            <a:tailEnd type="none" w="med" len="med"/>
          </a:ln>
          <a:effectLst/>
        </p:spPr>
        <p:txBody>
          <a:bodyPr rot="0" spcFirstLastPara="0" vertOverflow="overflow" horzOverflow="overflow" vert="horz" wrap="square" lIns="49702" tIns="99402" rIns="49702" bIns="41768" numCol="1" spcCol="0" rtlCol="0" fromWordArt="0" anchor="b" anchorCtr="0" forceAA="0" compatLnSpc="1">
            <a:prstTxWarp prst="textNoShape">
              <a:avLst/>
            </a:prstTxWarp>
            <a:noAutofit/>
          </a:bodyPr>
          <a:lstStyle/>
          <a:p>
            <a:pPr marL="0" marR="0" lvl="0" indent="0" algn="l" defTabSz="602693"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pitchFamily="34" charset="0"/>
                <a:ea typeface="Segoe UI" pitchFamily="34" charset="0"/>
                <a:cs typeface="Segoe UI" pitchFamily="34" charset="0"/>
              </a:rPr>
              <a:t>Thrift server</a:t>
            </a:r>
          </a:p>
        </p:txBody>
      </p:sp>
      <p:sp>
        <p:nvSpPr>
          <p:cNvPr id="75" name="Rectangle 74"/>
          <p:cNvSpPr/>
          <p:nvPr/>
        </p:nvSpPr>
        <p:spPr bwMode="auto">
          <a:xfrm>
            <a:off x="9506517" y="2264741"/>
            <a:ext cx="1002721" cy="1102707"/>
          </a:xfrm>
          <a:prstGeom prst="rect">
            <a:avLst/>
          </a:prstGeom>
          <a:solidFill>
            <a:srgbClr val="00BCF2"/>
          </a:solidFill>
          <a:ln w="25400" cap="flat" cmpd="sng" algn="ctr">
            <a:noFill/>
            <a:prstDash val="solid"/>
            <a:headEnd type="none" w="med" len="med"/>
            <a:tailEnd type="none" w="med" len="med"/>
          </a:ln>
          <a:effectLst/>
        </p:spPr>
        <p:txBody>
          <a:bodyPr rot="0" spcFirstLastPara="0" vertOverflow="overflow" horzOverflow="overflow" vert="horz" wrap="square" lIns="49702" tIns="99402" rIns="49702" bIns="41768" numCol="1" spcCol="0" rtlCol="0" fromWordArt="0" anchor="b" anchorCtr="0" forceAA="0" compatLnSpc="1">
            <a:prstTxWarp prst="textNoShape">
              <a:avLst/>
            </a:prstTxWarp>
            <a:noAutofit/>
          </a:bodyPr>
          <a:lstStyle/>
          <a:p>
            <a:pPr marL="0" marR="0" lvl="0" indent="0" algn="l" defTabSz="602693"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pitchFamily="34" charset="0"/>
                <a:ea typeface="Segoe UI" pitchFamily="34" charset="0"/>
                <a:cs typeface="Segoe UI" pitchFamily="34" charset="0"/>
              </a:rPr>
              <a:t>Command line interface (CLI)</a:t>
            </a:r>
          </a:p>
        </p:txBody>
      </p:sp>
      <p:sp>
        <p:nvSpPr>
          <p:cNvPr id="76" name="Rectangle 75"/>
          <p:cNvSpPr/>
          <p:nvPr/>
        </p:nvSpPr>
        <p:spPr bwMode="auto">
          <a:xfrm>
            <a:off x="7005615" y="3421918"/>
            <a:ext cx="3527646" cy="361324"/>
          </a:xfrm>
          <a:prstGeom prst="rect">
            <a:avLst/>
          </a:prstGeom>
          <a:solidFill>
            <a:srgbClr val="00BCF2"/>
          </a:solidFill>
          <a:ln w="25400" cap="flat" cmpd="sng" algn="ctr">
            <a:noFill/>
            <a:prstDash val="solid"/>
            <a:headEnd type="none" w="med" len="med"/>
            <a:tailEnd type="none" w="med" len="med"/>
          </a:ln>
          <a:effectLst/>
        </p:spPr>
        <p:txBody>
          <a:bodyPr rot="0" spcFirstLastPara="0" vertOverflow="overflow" horzOverflow="overflow" vert="horz" wrap="square" lIns="49702" tIns="99402" rIns="49702" bIns="41768" numCol="1" spcCol="0" rtlCol="0" fromWordArt="0" anchor="b" anchorCtr="0" forceAA="0" compatLnSpc="1">
            <a:prstTxWarp prst="textNoShape">
              <a:avLst/>
            </a:prstTxWarp>
            <a:noAutofit/>
          </a:bodyPr>
          <a:lstStyle/>
          <a:p>
            <a:pPr marL="0" marR="0" lvl="0" indent="0" algn="l" defTabSz="602693"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pitchFamily="34" charset="0"/>
                <a:ea typeface="Segoe UI" pitchFamily="34" charset="0"/>
                <a:cs typeface="Segoe UI" pitchFamily="34" charset="0"/>
              </a:rPr>
              <a:t>Compiler, Optimizer, Executor</a:t>
            </a:r>
          </a:p>
        </p:txBody>
      </p:sp>
      <p:pic>
        <p:nvPicPr>
          <p:cNvPr id="79" name="Picture 2" descr="C:\Users\mitchellg\Desktop\Automated_2.png"/>
          <p:cNvPicPr>
            <a:picLocks noChangeAspect="1" noChangeArrowheads="1"/>
          </p:cNvPicPr>
          <p:nvPr/>
        </p:nvPicPr>
        <p:blipFill>
          <a:blip r:embed="rId5" cstate="print">
            <a:duotone>
              <a:prstClr val="black"/>
              <a:schemeClr val="accent1">
                <a:tint val="45000"/>
                <a:satMod val="400000"/>
              </a:schemeClr>
            </a:duotone>
          </a:blip>
          <a:srcRect/>
          <a:stretch>
            <a:fillRect/>
          </a:stretch>
        </p:blipFill>
        <p:spPr bwMode="auto">
          <a:xfrm>
            <a:off x="8204742" y="3618437"/>
            <a:ext cx="810769" cy="810769"/>
          </a:xfrm>
          <a:prstGeom prst="rect">
            <a:avLst/>
          </a:prstGeom>
          <a:noFill/>
        </p:spPr>
      </p:pic>
      <p:grpSp>
        <p:nvGrpSpPr>
          <p:cNvPr id="20" name="Group 19"/>
          <p:cNvGrpSpPr/>
          <p:nvPr/>
        </p:nvGrpSpPr>
        <p:grpSpPr>
          <a:xfrm>
            <a:off x="5738588" y="636515"/>
            <a:ext cx="1405986" cy="1369205"/>
            <a:chOff x="306837" y="2966952"/>
            <a:chExt cx="1385600" cy="1352860"/>
          </a:xfrm>
        </p:grpSpPr>
        <p:sp>
          <p:nvSpPr>
            <p:cNvPr id="21" name="Freeform 20"/>
            <p:cNvSpPr/>
            <p:nvPr/>
          </p:nvSpPr>
          <p:spPr bwMode="auto">
            <a:xfrm>
              <a:off x="688501" y="3519487"/>
              <a:ext cx="752155" cy="800325"/>
            </a:xfrm>
            <a:custGeom>
              <a:avLst/>
              <a:gdLst>
                <a:gd name="connsiteX0" fmla="*/ 338138 w 728663"/>
                <a:gd name="connsiteY0" fmla="*/ 0 h 823912"/>
                <a:gd name="connsiteX1" fmla="*/ 73819 w 728663"/>
                <a:gd name="connsiteY1" fmla="*/ 97631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35719 w 728663"/>
                <a:gd name="connsiteY1" fmla="*/ 73819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97631 w 728663"/>
                <a:gd name="connsiteY1" fmla="*/ 66675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97631 w 728663"/>
                <a:gd name="connsiteY1" fmla="*/ 66675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97631 w 728663"/>
                <a:gd name="connsiteY1" fmla="*/ 66675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21470 w 711995"/>
                <a:gd name="connsiteY0" fmla="*/ 0 h 823912"/>
                <a:gd name="connsiteX1" fmla="*/ 80963 w 711995"/>
                <a:gd name="connsiteY1" fmla="*/ 66675 h 823912"/>
                <a:gd name="connsiteX2" fmla="*/ 0 w 711995"/>
                <a:gd name="connsiteY2" fmla="*/ 497681 h 823912"/>
                <a:gd name="connsiteX3" fmla="*/ 450057 w 711995"/>
                <a:gd name="connsiteY3" fmla="*/ 823912 h 823912"/>
                <a:gd name="connsiteX4" fmla="*/ 711995 w 711995"/>
                <a:gd name="connsiteY4" fmla="*/ 733425 h 823912"/>
                <a:gd name="connsiteX5" fmla="*/ 476251 w 711995"/>
                <a:gd name="connsiteY5" fmla="*/ 707231 h 823912"/>
                <a:gd name="connsiteX6" fmla="*/ 495301 w 711995"/>
                <a:gd name="connsiteY6" fmla="*/ 621506 h 823912"/>
                <a:gd name="connsiteX7" fmla="*/ 497682 w 711995"/>
                <a:gd name="connsiteY7" fmla="*/ 571500 h 823912"/>
                <a:gd name="connsiteX8" fmla="*/ 350045 w 711995"/>
                <a:gd name="connsiteY8" fmla="*/ 423862 h 823912"/>
                <a:gd name="connsiteX9" fmla="*/ 521495 w 711995"/>
                <a:gd name="connsiteY9" fmla="*/ 528637 h 823912"/>
                <a:gd name="connsiteX10" fmla="*/ 521495 w 711995"/>
                <a:gd name="connsiteY10" fmla="*/ 302418 h 823912"/>
                <a:gd name="connsiteX11" fmla="*/ 357189 w 711995"/>
                <a:gd name="connsiteY11" fmla="*/ 54768 h 823912"/>
                <a:gd name="connsiteX12" fmla="*/ 321470 w 711995"/>
                <a:gd name="connsiteY12" fmla="*/ 0 h 823912"/>
                <a:gd name="connsiteX0" fmla="*/ 347343 w 737868"/>
                <a:gd name="connsiteY0" fmla="*/ 0 h 823912"/>
                <a:gd name="connsiteX1" fmla="*/ 106836 w 737868"/>
                <a:gd name="connsiteY1" fmla="*/ 66675 h 823912"/>
                <a:gd name="connsiteX2" fmla="*/ 25873 w 737868"/>
                <a:gd name="connsiteY2" fmla="*/ 497681 h 823912"/>
                <a:gd name="connsiteX3" fmla="*/ 475930 w 737868"/>
                <a:gd name="connsiteY3" fmla="*/ 823912 h 823912"/>
                <a:gd name="connsiteX4" fmla="*/ 737868 w 737868"/>
                <a:gd name="connsiteY4" fmla="*/ 733425 h 823912"/>
                <a:gd name="connsiteX5" fmla="*/ 502124 w 737868"/>
                <a:gd name="connsiteY5" fmla="*/ 707231 h 823912"/>
                <a:gd name="connsiteX6" fmla="*/ 521174 w 737868"/>
                <a:gd name="connsiteY6" fmla="*/ 621506 h 823912"/>
                <a:gd name="connsiteX7" fmla="*/ 523555 w 737868"/>
                <a:gd name="connsiteY7" fmla="*/ 571500 h 823912"/>
                <a:gd name="connsiteX8" fmla="*/ 375918 w 737868"/>
                <a:gd name="connsiteY8" fmla="*/ 423862 h 823912"/>
                <a:gd name="connsiteX9" fmla="*/ 547368 w 737868"/>
                <a:gd name="connsiteY9" fmla="*/ 528637 h 823912"/>
                <a:gd name="connsiteX10" fmla="*/ 547368 w 737868"/>
                <a:gd name="connsiteY10" fmla="*/ 302418 h 823912"/>
                <a:gd name="connsiteX11" fmla="*/ 383062 w 737868"/>
                <a:gd name="connsiteY11" fmla="*/ 54768 h 823912"/>
                <a:gd name="connsiteX12" fmla="*/ 347343 w 737868"/>
                <a:gd name="connsiteY12" fmla="*/ 0 h 823912"/>
                <a:gd name="connsiteX0" fmla="*/ 347343 w 737868"/>
                <a:gd name="connsiteY0" fmla="*/ 0 h 823912"/>
                <a:gd name="connsiteX1" fmla="*/ 106836 w 737868"/>
                <a:gd name="connsiteY1" fmla="*/ 66675 h 823912"/>
                <a:gd name="connsiteX2" fmla="*/ 25873 w 737868"/>
                <a:gd name="connsiteY2" fmla="*/ 497681 h 823912"/>
                <a:gd name="connsiteX3" fmla="*/ 475930 w 737868"/>
                <a:gd name="connsiteY3" fmla="*/ 823912 h 823912"/>
                <a:gd name="connsiteX4" fmla="*/ 737868 w 737868"/>
                <a:gd name="connsiteY4" fmla="*/ 733425 h 823912"/>
                <a:gd name="connsiteX5" fmla="*/ 502124 w 737868"/>
                <a:gd name="connsiteY5" fmla="*/ 707231 h 823912"/>
                <a:gd name="connsiteX6" fmla="*/ 521174 w 737868"/>
                <a:gd name="connsiteY6" fmla="*/ 621506 h 823912"/>
                <a:gd name="connsiteX7" fmla="*/ 523555 w 737868"/>
                <a:gd name="connsiteY7" fmla="*/ 571500 h 823912"/>
                <a:gd name="connsiteX8" fmla="*/ 375918 w 737868"/>
                <a:gd name="connsiteY8" fmla="*/ 423862 h 823912"/>
                <a:gd name="connsiteX9" fmla="*/ 547368 w 737868"/>
                <a:gd name="connsiteY9" fmla="*/ 528637 h 823912"/>
                <a:gd name="connsiteX10" fmla="*/ 547368 w 737868"/>
                <a:gd name="connsiteY10" fmla="*/ 302418 h 823912"/>
                <a:gd name="connsiteX11" fmla="*/ 383062 w 737868"/>
                <a:gd name="connsiteY11" fmla="*/ 54768 h 823912"/>
                <a:gd name="connsiteX12" fmla="*/ 347343 w 737868"/>
                <a:gd name="connsiteY12" fmla="*/ 0 h 823912"/>
                <a:gd name="connsiteX0" fmla="*/ 347343 w 737868"/>
                <a:gd name="connsiteY0" fmla="*/ 0 h 795337"/>
                <a:gd name="connsiteX1" fmla="*/ 106836 w 737868"/>
                <a:gd name="connsiteY1" fmla="*/ 66675 h 795337"/>
                <a:gd name="connsiteX2" fmla="*/ 25873 w 737868"/>
                <a:gd name="connsiteY2" fmla="*/ 497681 h 795337"/>
                <a:gd name="connsiteX3" fmla="*/ 487836 w 737868"/>
                <a:gd name="connsiteY3" fmla="*/ 795337 h 795337"/>
                <a:gd name="connsiteX4" fmla="*/ 737868 w 737868"/>
                <a:gd name="connsiteY4" fmla="*/ 733425 h 795337"/>
                <a:gd name="connsiteX5" fmla="*/ 502124 w 737868"/>
                <a:gd name="connsiteY5" fmla="*/ 707231 h 795337"/>
                <a:gd name="connsiteX6" fmla="*/ 521174 w 737868"/>
                <a:gd name="connsiteY6" fmla="*/ 621506 h 795337"/>
                <a:gd name="connsiteX7" fmla="*/ 523555 w 737868"/>
                <a:gd name="connsiteY7" fmla="*/ 571500 h 795337"/>
                <a:gd name="connsiteX8" fmla="*/ 375918 w 737868"/>
                <a:gd name="connsiteY8" fmla="*/ 423862 h 795337"/>
                <a:gd name="connsiteX9" fmla="*/ 547368 w 737868"/>
                <a:gd name="connsiteY9" fmla="*/ 528637 h 795337"/>
                <a:gd name="connsiteX10" fmla="*/ 547368 w 737868"/>
                <a:gd name="connsiteY10" fmla="*/ 302418 h 795337"/>
                <a:gd name="connsiteX11" fmla="*/ 383062 w 737868"/>
                <a:gd name="connsiteY11" fmla="*/ 54768 h 795337"/>
                <a:gd name="connsiteX12" fmla="*/ 347343 w 737868"/>
                <a:gd name="connsiteY12" fmla="*/ 0 h 795337"/>
                <a:gd name="connsiteX0" fmla="*/ 347343 w 737868"/>
                <a:gd name="connsiteY0" fmla="*/ 0 h 800325"/>
                <a:gd name="connsiteX1" fmla="*/ 106836 w 737868"/>
                <a:gd name="connsiteY1" fmla="*/ 66675 h 800325"/>
                <a:gd name="connsiteX2" fmla="*/ 25873 w 737868"/>
                <a:gd name="connsiteY2" fmla="*/ 497681 h 800325"/>
                <a:gd name="connsiteX3" fmla="*/ 487836 w 737868"/>
                <a:gd name="connsiteY3" fmla="*/ 795337 h 800325"/>
                <a:gd name="connsiteX4" fmla="*/ 737868 w 737868"/>
                <a:gd name="connsiteY4" fmla="*/ 733425 h 800325"/>
                <a:gd name="connsiteX5" fmla="*/ 502124 w 737868"/>
                <a:gd name="connsiteY5" fmla="*/ 707231 h 800325"/>
                <a:gd name="connsiteX6" fmla="*/ 521174 w 737868"/>
                <a:gd name="connsiteY6" fmla="*/ 621506 h 800325"/>
                <a:gd name="connsiteX7" fmla="*/ 523555 w 737868"/>
                <a:gd name="connsiteY7" fmla="*/ 571500 h 800325"/>
                <a:gd name="connsiteX8" fmla="*/ 375918 w 737868"/>
                <a:gd name="connsiteY8" fmla="*/ 423862 h 800325"/>
                <a:gd name="connsiteX9" fmla="*/ 547368 w 737868"/>
                <a:gd name="connsiteY9" fmla="*/ 528637 h 800325"/>
                <a:gd name="connsiteX10" fmla="*/ 547368 w 737868"/>
                <a:gd name="connsiteY10" fmla="*/ 302418 h 800325"/>
                <a:gd name="connsiteX11" fmla="*/ 383062 w 737868"/>
                <a:gd name="connsiteY11" fmla="*/ 54768 h 800325"/>
                <a:gd name="connsiteX12" fmla="*/ 347343 w 737868"/>
                <a:gd name="connsiteY12" fmla="*/ 0 h 800325"/>
                <a:gd name="connsiteX0" fmla="*/ 347343 w 771205"/>
                <a:gd name="connsiteY0" fmla="*/ 0 h 800325"/>
                <a:gd name="connsiteX1" fmla="*/ 106836 w 771205"/>
                <a:gd name="connsiteY1" fmla="*/ 66675 h 800325"/>
                <a:gd name="connsiteX2" fmla="*/ 25873 w 771205"/>
                <a:gd name="connsiteY2" fmla="*/ 497681 h 800325"/>
                <a:gd name="connsiteX3" fmla="*/ 487836 w 771205"/>
                <a:gd name="connsiteY3" fmla="*/ 795337 h 800325"/>
                <a:gd name="connsiteX4" fmla="*/ 771205 w 771205"/>
                <a:gd name="connsiteY4" fmla="*/ 707232 h 800325"/>
                <a:gd name="connsiteX5" fmla="*/ 502124 w 771205"/>
                <a:gd name="connsiteY5" fmla="*/ 707231 h 800325"/>
                <a:gd name="connsiteX6" fmla="*/ 521174 w 771205"/>
                <a:gd name="connsiteY6" fmla="*/ 621506 h 800325"/>
                <a:gd name="connsiteX7" fmla="*/ 523555 w 771205"/>
                <a:gd name="connsiteY7" fmla="*/ 571500 h 800325"/>
                <a:gd name="connsiteX8" fmla="*/ 375918 w 771205"/>
                <a:gd name="connsiteY8" fmla="*/ 423862 h 800325"/>
                <a:gd name="connsiteX9" fmla="*/ 547368 w 771205"/>
                <a:gd name="connsiteY9" fmla="*/ 528637 h 800325"/>
                <a:gd name="connsiteX10" fmla="*/ 547368 w 771205"/>
                <a:gd name="connsiteY10" fmla="*/ 302418 h 800325"/>
                <a:gd name="connsiteX11" fmla="*/ 383062 w 771205"/>
                <a:gd name="connsiteY11" fmla="*/ 54768 h 800325"/>
                <a:gd name="connsiteX12" fmla="*/ 347343 w 771205"/>
                <a:gd name="connsiteY12" fmla="*/ 0 h 800325"/>
                <a:gd name="connsiteX0" fmla="*/ 347343 w 771205"/>
                <a:gd name="connsiteY0" fmla="*/ 0 h 800325"/>
                <a:gd name="connsiteX1" fmla="*/ 106836 w 771205"/>
                <a:gd name="connsiteY1" fmla="*/ 66675 h 800325"/>
                <a:gd name="connsiteX2" fmla="*/ 25873 w 771205"/>
                <a:gd name="connsiteY2" fmla="*/ 497681 h 800325"/>
                <a:gd name="connsiteX3" fmla="*/ 487836 w 771205"/>
                <a:gd name="connsiteY3" fmla="*/ 795337 h 800325"/>
                <a:gd name="connsiteX4" fmla="*/ 771205 w 771205"/>
                <a:gd name="connsiteY4" fmla="*/ 707232 h 800325"/>
                <a:gd name="connsiteX5" fmla="*/ 502124 w 771205"/>
                <a:gd name="connsiteY5" fmla="*/ 707231 h 800325"/>
                <a:gd name="connsiteX6" fmla="*/ 521174 w 771205"/>
                <a:gd name="connsiteY6" fmla="*/ 621506 h 800325"/>
                <a:gd name="connsiteX7" fmla="*/ 523555 w 771205"/>
                <a:gd name="connsiteY7" fmla="*/ 571500 h 800325"/>
                <a:gd name="connsiteX8" fmla="*/ 375918 w 771205"/>
                <a:gd name="connsiteY8" fmla="*/ 423862 h 800325"/>
                <a:gd name="connsiteX9" fmla="*/ 547368 w 771205"/>
                <a:gd name="connsiteY9" fmla="*/ 528637 h 800325"/>
                <a:gd name="connsiteX10" fmla="*/ 547368 w 771205"/>
                <a:gd name="connsiteY10" fmla="*/ 302418 h 800325"/>
                <a:gd name="connsiteX11" fmla="*/ 383062 w 771205"/>
                <a:gd name="connsiteY11" fmla="*/ 54768 h 800325"/>
                <a:gd name="connsiteX12" fmla="*/ 347343 w 77120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502124 w 752155"/>
                <a:gd name="connsiteY5" fmla="*/ 707231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11649 w 752155"/>
                <a:gd name="connsiteY6" fmla="*/ 666751 h 800325"/>
                <a:gd name="connsiteX7" fmla="*/ 521174 w 752155"/>
                <a:gd name="connsiteY7" fmla="*/ 621506 h 800325"/>
                <a:gd name="connsiteX8" fmla="*/ 523555 w 752155"/>
                <a:gd name="connsiteY8" fmla="*/ 571500 h 800325"/>
                <a:gd name="connsiteX9" fmla="*/ 375918 w 752155"/>
                <a:gd name="connsiteY9" fmla="*/ 423862 h 800325"/>
                <a:gd name="connsiteX10" fmla="*/ 547368 w 752155"/>
                <a:gd name="connsiteY10" fmla="*/ 528637 h 800325"/>
                <a:gd name="connsiteX11" fmla="*/ 547368 w 752155"/>
                <a:gd name="connsiteY11" fmla="*/ 302418 h 800325"/>
                <a:gd name="connsiteX12" fmla="*/ 383062 w 752155"/>
                <a:gd name="connsiteY12" fmla="*/ 54768 h 800325"/>
                <a:gd name="connsiteX13" fmla="*/ 347343 w 752155"/>
                <a:gd name="connsiteY13"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521174 w 752155"/>
                <a:gd name="connsiteY7" fmla="*/ 621506 h 800325"/>
                <a:gd name="connsiteX8" fmla="*/ 523555 w 752155"/>
                <a:gd name="connsiteY8" fmla="*/ 571500 h 800325"/>
                <a:gd name="connsiteX9" fmla="*/ 375918 w 752155"/>
                <a:gd name="connsiteY9" fmla="*/ 423862 h 800325"/>
                <a:gd name="connsiteX10" fmla="*/ 547368 w 752155"/>
                <a:gd name="connsiteY10" fmla="*/ 528637 h 800325"/>
                <a:gd name="connsiteX11" fmla="*/ 547368 w 752155"/>
                <a:gd name="connsiteY11" fmla="*/ 302418 h 800325"/>
                <a:gd name="connsiteX12" fmla="*/ 383062 w 752155"/>
                <a:gd name="connsiteY12" fmla="*/ 54768 h 800325"/>
                <a:gd name="connsiteX13" fmla="*/ 347343 w 752155"/>
                <a:gd name="connsiteY13"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528318 w 752155"/>
                <a:gd name="connsiteY7" fmla="*/ 642938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387824 w 752155"/>
                <a:gd name="connsiteY7" fmla="*/ 614363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387824 w 752155"/>
                <a:gd name="connsiteY7" fmla="*/ 614363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47368 w 752155"/>
                <a:gd name="connsiteY9" fmla="*/ 545306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37843 w 752155"/>
                <a:gd name="connsiteY9" fmla="*/ 578644 h 800325"/>
                <a:gd name="connsiteX10" fmla="*/ 547368 w 752155"/>
                <a:gd name="connsiteY10" fmla="*/ 545306 h 800325"/>
                <a:gd name="connsiteX11" fmla="*/ 375918 w 752155"/>
                <a:gd name="connsiteY11" fmla="*/ 423862 h 800325"/>
                <a:gd name="connsiteX12" fmla="*/ 547368 w 752155"/>
                <a:gd name="connsiteY12" fmla="*/ 528637 h 800325"/>
                <a:gd name="connsiteX13" fmla="*/ 547368 w 752155"/>
                <a:gd name="connsiteY13" fmla="*/ 302418 h 800325"/>
                <a:gd name="connsiteX14" fmla="*/ 383062 w 752155"/>
                <a:gd name="connsiteY14" fmla="*/ 54768 h 800325"/>
                <a:gd name="connsiteX15" fmla="*/ 347343 w 752155"/>
                <a:gd name="connsiteY15"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1630 w 752155"/>
                <a:gd name="connsiteY9" fmla="*/ 554831 h 800325"/>
                <a:gd name="connsiteX10" fmla="*/ 547368 w 752155"/>
                <a:gd name="connsiteY10" fmla="*/ 545306 h 800325"/>
                <a:gd name="connsiteX11" fmla="*/ 375918 w 752155"/>
                <a:gd name="connsiteY11" fmla="*/ 423862 h 800325"/>
                <a:gd name="connsiteX12" fmla="*/ 547368 w 752155"/>
                <a:gd name="connsiteY12" fmla="*/ 528637 h 800325"/>
                <a:gd name="connsiteX13" fmla="*/ 547368 w 752155"/>
                <a:gd name="connsiteY13" fmla="*/ 302418 h 800325"/>
                <a:gd name="connsiteX14" fmla="*/ 383062 w 752155"/>
                <a:gd name="connsiteY14" fmla="*/ 54768 h 800325"/>
                <a:gd name="connsiteX15" fmla="*/ 347343 w 752155"/>
                <a:gd name="connsiteY15"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1630 w 752155"/>
                <a:gd name="connsiteY9" fmla="*/ 554831 h 800325"/>
                <a:gd name="connsiteX10" fmla="*/ 447355 w 752155"/>
                <a:gd name="connsiteY10" fmla="*/ 552451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1630 w 752155"/>
                <a:gd name="connsiteY9" fmla="*/ 554831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99730 w 752155"/>
                <a:gd name="connsiteY12" fmla="*/ 428624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99730 w 752155"/>
                <a:gd name="connsiteY12" fmla="*/ 428624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99730 w 752155"/>
                <a:gd name="connsiteY12" fmla="*/ 428624 h 800325"/>
                <a:gd name="connsiteX13" fmla="*/ 533080 w 752155"/>
                <a:gd name="connsiteY13" fmla="*/ 435768 h 800325"/>
                <a:gd name="connsiteX14" fmla="*/ 547368 w 752155"/>
                <a:gd name="connsiteY14" fmla="*/ 302418 h 800325"/>
                <a:gd name="connsiteX15" fmla="*/ 383062 w 752155"/>
                <a:gd name="connsiteY15" fmla="*/ 54768 h 800325"/>
                <a:gd name="connsiteX16" fmla="*/ 347343 w 752155"/>
                <a:gd name="connsiteY16" fmla="*/ 0 h 80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52155" h="800325">
                  <a:moveTo>
                    <a:pt x="347343" y="0"/>
                  </a:moveTo>
                  <a:cubicBezTo>
                    <a:pt x="267174" y="22225"/>
                    <a:pt x="165574" y="11112"/>
                    <a:pt x="106836" y="66675"/>
                  </a:cubicBezTo>
                  <a:cubicBezTo>
                    <a:pt x="-11433" y="199230"/>
                    <a:pt x="-20164" y="298450"/>
                    <a:pt x="25873" y="497681"/>
                  </a:cubicBezTo>
                  <a:cubicBezTo>
                    <a:pt x="106835" y="742156"/>
                    <a:pt x="421161" y="822324"/>
                    <a:pt x="487836" y="795337"/>
                  </a:cubicBezTo>
                  <a:lnTo>
                    <a:pt x="752155" y="709613"/>
                  </a:lnTo>
                  <a:cubicBezTo>
                    <a:pt x="660079" y="719138"/>
                    <a:pt x="534668" y="731044"/>
                    <a:pt x="464024" y="695325"/>
                  </a:cubicBezTo>
                  <a:cubicBezTo>
                    <a:pt x="423940" y="688181"/>
                    <a:pt x="518793" y="698103"/>
                    <a:pt x="528318" y="685800"/>
                  </a:cubicBezTo>
                  <a:cubicBezTo>
                    <a:pt x="539034" y="677069"/>
                    <a:pt x="431878" y="688975"/>
                    <a:pt x="387824" y="614363"/>
                  </a:cubicBezTo>
                  <a:cubicBezTo>
                    <a:pt x="469976" y="611188"/>
                    <a:pt x="524349" y="619123"/>
                    <a:pt x="523555" y="607217"/>
                  </a:cubicBezTo>
                  <a:cubicBezTo>
                    <a:pt x="474343" y="604837"/>
                    <a:pt x="408461" y="600074"/>
                    <a:pt x="366392" y="557212"/>
                  </a:cubicBezTo>
                  <a:lnTo>
                    <a:pt x="383061" y="483395"/>
                  </a:lnTo>
                  <a:cubicBezTo>
                    <a:pt x="425923" y="532607"/>
                    <a:pt x="473550" y="553243"/>
                    <a:pt x="533080" y="559594"/>
                  </a:cubicBezTo>
                  <a:cubicBezTo>
                    <a:pt x="466405" y="540544"/>
                    <a:pt x="418779" y="488155"/>
                    <a:pt x="399730" y="428624"/>
                  </a:cubicBezTo>
                  <a:lnTo>
                    <a:pt x="533080" y="435768"/>
                  </a:lnTo>
                  <a:lnTo>
                    <a:pt x="547368" y="302418"/>
                  </a:lnTo>
                  <a:lnTo>
                    <a:pt x="383062" y="54768"/>
                  </a:lnTo>
                  <a:lnTo>
                    <a:pt x="347343" y="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ea typeface="Segoe UI" pitchFamily="34" charset="0"/>
                <a:cs typeface="Segoe UI" pitchFamily="34" charset="0"/>
              </a:endParaRPr>
            </a:p>
          </p:txBody>
        </p:sp>
        <p:grpSp>
          <p:nvGrpSpPr>
            <p:cNvPr id="22" name="Group 21"/>
            <p:cNvGrpSpPr/>
            <p:nvPr/>
          </p:nvGrpSpPr>
          <p:grpSpPr>
            <a:xfrm>
              <a:off x="306837" y="2966952"/>
              <a:ext cx="1385600" cy="1351044"/>
              <a:chOff x="1058398" y="3354141"/>
              <a:chExt cx="533724" cy="520412"/>
            </a:xfrm>
          </p:grpSpPr>
          <p:sp>
            <p:nvSpPr>
              <p:cNvPr id="23" name="Freeform 22"/>
              <p:cNvSpPr/>
              <p:nvPr/>
            </p:nvSpPr>
            <p:spPr bwMode="auto">
              <a:xfrm>
                <a:off x="1058398" y="3354142"/>
                <a:ext cx="533723" cy="415322"/>
              </a:xfrm>
              <a:custGeom>
                <a:avLst/>
                <a:gdLst>
                  <a:gd name="connsiteX0" fmla="*/ 528506 w 533723"/>
                  <a:gd name="connsiteY0" fmla="*/ 291832 h 418083"/>
                  <a:gd name="connsiteX1" fmla="*/ 510121 w 533723"/>
                  <a:gd name="connsiteY1" fmla="*/ 300446 h 418083"/>
                  <a:gd name="connsiteX2" fmla="*/ 500354 w 533723"/>
                  <a:gd name="connsiteY2" fmla="*/ 302312 h 418083"/>
                  <a:gd name="connsiteX3" fmla="*/ 489695 w 533723"/>
                  <a:gd name="connsiteY3" fmla="*/ 299159 h 418083"/>
                  <a:gd name="connsiteX4" fmla="*/ 490953 w 533723"/>
                  <a:gd name="connsiteY4" fmla="*/ 302242 h 418083"/>
                  <a:gd name="connsiteX5" fmla="*/ 490826 w 533723"/>
                  <a:gd name="connsiteY5" fmla="*/ 302554 h 418083"/>
                  <a:gd name="connsiteX6" fmla="*/ 497481 w 533723"/>
                  <a:gd name="connsiteY6" fmla="*/ 306188 h 418083"/>
                  <a:gd name="connsiteX7" fmla="*/ 505812 w 533723"/>
                  <a:gd name="connsiteY7" fmla="*/ 305901 h 418083"/>
                  <a:gd name="connsiteX8" fmla="*/ 523335 w 533723"/>
                  <a:gd name="connsiteY8" fmla="*/ 297575 h 418083"/>
                  <a:gd name="connsiteX9" fmla="*/ 528506 w 533723"/>
                  <a:gd name="connsiteY9" fmla="*/ 291832 h 418083"/>
                  <a:gd name="connsiteX10" fmla="*/ 459095 w 533723"/>
                  <a:gd name="connsiteY10" fmla="*/ 214354 h 418083"/>
                  <a:gd name="connsiteX11" fmla="*/ 470185 w 533723"/>
                  <a:gd name="connsiteY11" fmla="*/ 232917 h 418083"/>
                  <a:gd name="connsiteX12" fmla="*/ 469083 w 533723"/>
                  <a:gd name="connsiteY12" fmla="*/ 236710 h 418083"/>
                  <a:gd name="connsiteX13" fmla="*/ 465107 w 533723"/>
                  <a:gd name="connsiteY13" fmla="*/ 228628 h 418083"/>
                  <a:gd name="connsiteX14" fmla="*/ 462850 w 533723"/>
                  <a:gd name="connsiteY14" fmla="*/ 223907 h 418083"/>
                  <a:gd name="connsiteX15" fmla="*/ 461361 w 533723"/>
                  <a:gd name="connsiteY15" fmla="*/ 220754 h 418083"/>
                  <a:gd name="connsiteX16" fmla="*/ 458921 w 533723"/>
                  <a:gd name="connsiteY16" fmla="*/ 213862 h 418083"/>
                  <a:gd name="connsiteX17" fmla="*/ 459095 w 533723"/>
                  <a:gd name="connsiteY17" fmla="*/ 214354 h 418083"/>
                  <a:gd name="connsiteX18" fmla="*/ 458953 w 533723"/>
                  <a:gd name="connsiteY18" fmla="*/ 214116 h 418083"/>
                  <a:gd name="connsiteX19" fmla="*/ 231642 w 533723"/>
                  <a:gd name="connsiteY19" fmla="*/ 117869 h 418083"/>
                  <a:gd name="connsiteX20" fmla="*/ 245739 w 533723"/>
                  <a:gd name="connsiteY20" fmla="*/ 119960 h 418083"/>
                  <a:gd name="connsiteX21" fmla="*/ 247479 w 533723"/>
                  <a:gd name="connsiteY21" fmla="*/ 117948 h 418083"/>
                  <a:gd name="connsiteX22" fmla="*/ 241439 w 533723"/>
                  <a:gd name="connsiteY22" fmla="*/ 117896 h 418083"/>
                  <a:gd name="connsiteX23" fmla="*/ 231642 w 533723"/>
                  <a:gd name="connsiteY23" fmla="*/ 117869 h 418083"/>
                  <a:gd name="connsiteX24" fmla="*/ 393966 w 533723"/>
                  <a:gd name="connsiteY24" fmla="*/ 59548 h 418083"/>
                  <a:gd name="connsiteX25" fmla="*/ 394760 w 533723"/>
                  <a:gd name="connsiteY25" fmla="*/ 61641 h 418083"/>
                  <a:gd name="connsiteX26" fmla="*/ 396543 w 533723"/>
                  <a:gd name="connsiteY26" fmla="*/ 61922 h 418083"/>
                  <a:gd name="connsiteX27" fmla="*/ 135290 w 533723"/>
                  <a:gd name="connsiteY27" fmla="*/ 95 h 418083"/>
                  <a:gd name="connsiteX28" fmla="*/ 142002 w 533723"/>
                  <a:gd name="connsiteY28" fmla="*/ 118 h 418083"/>
                  <a:gd name="connsiteX29" fmla="*/ 184247 w 533723"/>
                  <a:gd name="connsiteY29" fmla="*/ 9888 h 418083"/>
                  <a:gd name="connsiteX30" fmla="*/ 237411 w 533723"/>
                  <a:gd name="connsiteY30" fmla="*/ 31727 h 418083"/>
                  <a:gd name="connsiteX31" fmla="*/ 273908 w 533723"/>
                  <a:gd name="connsiteY31" fmla="*/ 50693 h 418083"/>
                  <a:gd name="connsiteX32" fmla="*/ 300993 w 533723"/>
                  <a:gd name="connsiteY32" fmla="*/ 65241 h 418083"/>
                  <a:gd name="connsiteX33" fmla="*/ 313770 w 533723"/>
                  <a:gd name="connsiteY33" fmla="*/ 72415 h 418083"/>
                  <a:gd name="connsiteX34" fmla="*/ 317458 w 533723"/>
                  <a:gd name="connsiteY34" fmla="*/ 74704 h 418083"/>
                  <a:gd name="connsiteX35" fmla="*/ 321989 w 533723"/>
                  <a:gd name="connsiteY35" fmla="*/ 77518 h 418083"/>
                  <a:gd name="connsiteX36" fmla="*/ 328509 w 533723"/>
                  <a:gd name="connsiteY36" fmla="*/ 81728 h 418083"/>
                  <a:gd name="connsiteX37" fmla="*/ 329950 w 533723"/>
                  <a:gd name="connsiteY37" fmla="*/ 82770 h 418083"/>
                  <a:gd name="connsiteX38" fmla="*/ 322786 w 533723"/>
                  <a:gd name="connsiteY38" fmla="*/ 67357 h 418083"/>
                  <a:gd name="connsiteX39" fmla="*/ 318179 w 533723"/>
                  <a:gd name="connsiteY39" fmla="*/ 66024 h 418083"/>
                  <a:gd name="connsiteX40" fmla="*/ 315145 w 533723"/>
                  <a:gd name="connsiteY40" fmla="*/ 65146 h 418083"/>
                  <a:gd name="connsiteX41" fmla="*/ 315984 w 533723"/>
                  <a:gd name="connsiteY41" fmla="*/ 64282 h 418083"/>
                  <a:gd name="connsiteX42" fmla="*/ 336115 w 533723"/>
                  <a:gd name="connsiteY42" fmla="*/ 45493 h 418083"/>
                  <a:gd name="connsiteX43" fmla="*/ 339135 w 533723"/>
                  <a:gd name="connsiteY43" fmla="*/ 43303 h 418083"/>
                  <a:gd name="connsiteX44" fmla="*/ 344556 w 533723"/>
                  <a:gd name="connsiteY44" fmla="*/ 40552 h 418083"/>
                  <a:gd name="connsiteX45" fmla="*/ 348957 w 533723"/>
                  <a:gd name="connsiteY45" fmla="*/ 38760 h 418083"/>
                  <a:gd name="connsiteX46" fmla="*/ 368054 w 533723"/>
                  <a:gd name="connsiteY46" fmla="*/ 34807 h 418083"/>
                  <a:gd name="connsiteX47" fmla="*/ 382234 w 533723"/>
                  <a:gd name="connsiteY47" fmla="*/ 37952 h 418083"/>
                  <a:gd name="connsiteX48" fmla="*/ 390275 w 533723"/>
                  <a:gd name="connsiteY48" fmla="*/ 35652 h 418083"/>
                  <a:gd name="connsiteX49" fmla="*/ 390840 w 533723"/>
                  <a:gd name="connsiteY49" fmla="*/ 35749 h 418083"/>
                  <a:gd name="connsiteX50" fmla="*/ 391575 w 533723"/>
                  <a:gd name="connsiteY50" fmla="*/ 35894 h 418083"/>
                  <a:gd name="connsiteX51" fmla="*/ 391750 w 533723"/>
                  <a:gd name="connsiteY51" fmla="*/ 35955 h 418083"/>
                  <a:gd name="connsiteX52" fmla="*/ 392615 w 533723"/>
                  <a:gd name="connsiteY52" fmla="*/ 36327 h 418083"/>
                  <a:gd name="connsiteX53" fmla="*/ 393242 w 533723"/>
                  <a:gd name="connsiteY53" fmla="*/ 36306 h 418083"/>
                  <a:gd name="connsiteX54" fmla="*/ 393406 w 533723"/>
                  <a:gd name="connsiteY54" fmla="*/ 36317 h 418083"/>
                  <a:gd name="connsiteX55" fmla="*/ 397383 w 533723"/>
                  <a:gd name="connsiteY55" fmla="*/ 37341 h 418083"/>
                  <a:gd name="connsiteX56" fmla="*/ 408367 w 533723"/>
                  <a:gd name="connsiteY56" fmla="*/ 43126 h 418083"/>
                  <a:gd name="connsiteX57" fmla="*/ 459773 w 533723"/>
                  <a:gd name="connsiteY57" fmla="*/ 126491 h 418083"/>
                  <a:gd name="connsiteX58" fmla="*/ 441680 w 533723"/>
                  <a:gd name="connsiteY58" fmla="*/ 188008 h 418083"/>
                  <a:gd name="connsiteX59" fmla="*/ 442553 w 533723"/>
                  <a:gd name="connsiteY59" fmla="*/ 192637 h 418083"/>
                  <a:gd name="connsiteX60" fmla="*/ 443081 w 533723"/>
                  <a:gd name="connsiteY60" fmla="*/ 194875 h 418083"/>
                  <a:gd name="connsiteX61" fmla="*/ 451172 w 533723"/>
                  <a:gd name="connsiteY61" fmla="*/ 201092 h 418083"/>
                  <a:gd name="connsiteX62" fmla="*/ 458953 w 533723"/>
                  <a:gd name="connsiteY62" fmla="*/ 214116 h 418083"/>
                  <a:gd name="connsiteX63" fmla="*/ 459209 w 533723"/>
                  <a:gd name="connsiteY63" fmla="*/ 216161 h 418083"/>
                  <a:gd name="connsiteX64" fmla="*/ 460971 w 533723"/>
                  <a:gd name="connsiteY64" fmla="*/ 219929 h 418083"/>
                  <a:gd name="connsiteX65" fmla="*/ 461361 w 533723"/>
                  <a:gd name="connsiteY65" fmla="*/ 220754 h 418083"/>
                  <a:gd name="connsiteX66" fmla="*/ 470303 w 533723"/>
                  <a:gd name="connsiteY66" fmla="*/ 246015 h 418083"/>
                  <a:gd name="connsiteX67" fmla="*/ 469962 w 533723"/>
                  <a:gd name="connsiteY67" fmla="*/ 245448 h 418083"/>
                  <a:gd name="connsiteX68" fmla="*/ 468971 w 533723"/>
                  <a:gd name="connsiteY68" fmla="*/ 243799 h 418083"/>
                  <a:gd name="connsiteX69" fmla="*/ 464115 w 533723"/>
                  <a:gd name="connsiteY69" fmla="*/ 240660 h 418083"/>
                  <a:gd name="connsiteX70" fmla="*/ 457544 w 533723"/>
                  <a:gd name="connsiteY70" fmla="*/ 239804 h 418083"/>
                  <a:gd name="connsiteX71" fmla="*/ 463829 w 533723"/>
                  <a:gd name="connsiteY71" fmla="*/ 242086 h 418083"/>
                  <a:gd name="connsiteX72" fmla="*/ 469895 w 533723"/>
                  <a:gd name="connsiteY72" fmla="*/ 245979 h 418083"/>
                  <a:gd name="connsiteX73" fmla="*/ 470460 w 533723"/>
                  <a:gd name="connsiteY73" fmla="*/ 246460 h 418083"/>
                  <a:gd name="connsiteX74" fmla="*/ 485321 w 533723"/>
                  <a:gd name="connsiteY74" fmla="*/ 288443 h 418083"/>
                  <a:gd name="connsiteX75" fmla="*/ 485666 w 533723"/>
                  <a:gd name="connsiteY75" fmla="*/ 289289 h 418083"/>
                  <a:gd name="connsiteX76" fmla="*/ 485392 w 533723"/>
                  <a:gd name="connsiteY76" fmla="*/ 285754 h 418083"/>
                  <a:gd name="connsiteX77" fmla="*/ 485409 w 533723"/>
                  <a:gd name="connsiteY77" fmla="*/ 284254 h 418083"/>
                  <a:gd name="connsiteX78" fmla="*/ 485552 w 533723"/>
                  <a:gd name="connsiteY78" fmla="*/ 284634 h 418083"/>
                  <a:gd name="connsiteX79" fmla="*/ 487684 w 533723"/>
                  <a:gd name="connsiteY79" fmla="*/ 290297 h 418083"/>
                  <a:gd name="connsiteX80" fmla="*/ 487716 w 533723"/>
                  <a:gd name="connsiteY80" fmla="*/ 290381 h 418083"/>
                  <a:gd name="connsiteX81" fmla="*/ 487709 w 533723"/>
                  <a:gd name="connsiteY81" fmla="*/ 290382 h 418083"/>
                  <a:gd name="connsiteX82" fmla="*/ 486150 w 533723"/>
                  <a:gd name="connsiteY82" fmla="*/ 290474 h 418083"/>
                  <a:gd name="connsiteX83" fmla="*/ 488742 w 533723"/>
                  <a:gd name="connsiteY83" fmla="*/ 296824 h 418083"/>
                  <a:gd name="connsiteX84" fmla="*/ 494320 w 533723"/>
                  <a:gd name="connsiteY84" fmla="*/ 295556 h 418083"/>
                  <a:gd name="connsiteX85" fmla="*/ 512429 w 533723"/>
                  <a:gd name="connsiteY85" fmla="*/ 291820 h 418083"/>
                  <a:gd name="connsiteX86" fmla="*/ 519005 w 533723"/>
                  <a:gd name="connsiteY86" fmla="*/ 287509 h 418083"/>
                  <a:gd name="connsiteX87" fmla="*/ 520508 w 533723"/>
                  <a:gd name="connsiteY87" fmla="*/ 286839 h 418083"/>
                  <a:gd name="connsiteX88" fmla="*/ 522424 w 533723"/>
                  <a:gd name="connsiteY88" fmla="*/ 286502 h 418083"/>
                  <a:gd name="connsiteX89" fmla="*/ 523091 w 533723"/>
                  <a:gd name="connsiteY89" fmla="*/ 286385 h 418083"/>
                  <a:gd name="connsiteX90" fmla="*/ 525364 w 533723"/>
                  <a:gd name="connsiteY90" fmla="*/ 286646 h 418083"/>
                  <a:gd name="connsiteX91" fmla="*/ 533413 w 533723"/>
                  <a:gd name="connsiteY91" fmla="*/ 297855 h 418083"/>
                  <a:gd name="connsiteX92" fmla="*/ 530826 w 533723"/>
                  <a:gd name="connsiteY92" fmla="*/ 316249 h 418083"/>
                  <a:gd name="connsiteX93" fmla="*/ 530588 w 533723"/>
                  <a:gd name="connsiteY93" fmla="*/ 318085 h 418083"/>
                  <a:gd name="connsiteX94" fmla="*/ 530192 w 533723"/>
                  <a:gd name="connsiteY94" fmla="*/ 320320 h 418083"/>
                  <a:gd name="connsiteX95" fmla="*/ 529838 w 533723"/>
                  <a:gd name="connsiteY95" fmla="*/ 321637 h 418083"/>
                  <a:gd name="connsiteX96" fmla="*/ 526883 w 533723"/>
                  <a:gd name="connsiteY96" fmla="*/ 332653 h 418083"/>
                  <a:gd name="connsiteX97" fmla="*/ 524435 w 533723"/>
                  <a:gd name="connsiteY97" fmla="*/ 341781 h 418083"/>
                  <a:gd name="connsiteX98" fmla="*/ 519934 w 533723"/>
                  <a:gd name="connsiteY98" fmla="*/ 353045 h 418083"/>
                  <a:gd name="connsiteX99" fmla="*/ 493458 w 533723"/>
                  <a:gd name="connsiteY99" fmla="*/ 392987 h 418083"/>
                  <a:gd name="connsiteX100" fmla="*/ 421143 w 533723"/>
                  <a:gd name="connsiteY100" fmla="*/ 403455 h 418083"/>
                  <a:gd name="connsiteX101" fmla="*/ 416615 w 533723"/>
                  <a:gd name="connsiteY101" fmla="*/ 401105 h 418083"/>
                  <a:gd name="connsiteX102" fmla="*/ 415306 w 533723"/>
                  <a:gd name="connsiteY102" fmla="*/ 404311 h 418083"/>
                  <a:gd name="connsiteX103" fmla="*/ 382546 w 533723"/>
                  <a:gd name="connsiteY103" fmla="*/ 418083 h 418083"/>
                  <a:gd name="connsiteX104" fmla="*/ 364512 w 533723"/>
                  <a:gd name="connsiteY104" fmla="*/ 414388 h 418083"/>
                  <a:gd name="connsiteX105" fmla="*/ 362260 w 533723"/>
                  <a:gd name="connsiteY105" fmla="*/ 412847 h 418083"/>
                  <a:gd name="connsiteX106" fmla="*/ 359508 w 533723"/>
                  <a:gd name="connsiteY106" fmla="*/ 412530 h 418083"/>
                  <a:gd name="connsiteX107" fmla="*/ 354180 w 533723"/>
                  <a:gd name="connsiteY107" fmla="*/ 409493 h 418083"/>
                  <a:gd name="connsiteX108" fmla="*/ 351263 w 533723"/>
                  <a:gd name="connsiteY108" fmla="*/ 406931 h 418083"/>
                  <a:gd name="connsiteX109" fmla="*/ 351015 w 533723"/>
                  <a:gd name="connsiteY109" fmla="*/ 406713 h 418083"/>
                  <a:gd name="connsiteX110" fmla="*/ 348397 w 533723"/>
                  <a:gd name="connsiteY110" fmla="*/ 403432 h 418083"/>
                  <a:gd name="connsiteX111" fmla="*/ 347445 w 533723"/>
                  <a:gd name="connsiteY111" fmla="*/ 401927 h 418083"/>
                  <a:gd name="connsiteX112" fmla="*/ 345319 w 533723"/>
                  <a:gd name="connsiteY112" fmla="*/ 397536 h 418083"/>
                  <a:gd name="connsiteX113" fmla="*/ 344561 w 533723"/>
                  <a:gd name="connsiteY113" fmla="*/ 395286 h 418083"/>
                  <a:gd name="connsiteX114" fmla="*/ 335650 w 533723"/>
                  <a:gd name="connsiteY114" fmla="*/ 375455 h 418083"/>
                  <a:gd name="connsiteX115" fmla="*/ 322714 w 533723"/>
                  <a:gd name="connsiteY115" fmla="*/ 362234 h 418083"/>
                  <a:gd name="connsiteX116" fmla="*/ 319648 w 533723"/>
                  <a:gd name="connsiteY116" fmla="*/ 358159 h 418083"/>
                  <a:gd name="connsiteX117" fmla="*/ 319434 w 533723"/>
                  <a:gd name="connsiteY117" fmla="*/ 357823 h 418083"/>
                  <a:gd name="connsiteX118" fmla="*/ 314734 w 533723"/>
                  <a:gd name="connsiteY118" fmla="*/ 350455 h 418083"/>
                  <a:gd name="connsiteX119" fmla="*/ 319052 w 533723"/>
                  <a:gd name="connsiteY119" fmla="*/ 316733 h 418083"/>
                  <a:gd name="connsiteX120" fmla="*/ 323333 w 533723"/>
                  <a:gd name="connsiteY120" fmla="*/ 310656 h 418083"/>
                  <a:gd name="connsiteX121" fmla="*/ 320679 w 533723"/>
                  <a:gd name="connsiteY121" fmla="*/ 310837 h 418083"/>
                  <a:gd name="connsiteX122" fmla="*/ 316984 w 533723"/>
                  <a:gd name="connsiteY122" fmla="*/ 309959 h 418083"/>
                  <a:gd name="connsiteX123" fmla="*/ 278469 w 533723"/>
                  <a:gd name="connsiteY123" fmla="*/ 281787 h 418083"/>
                  <a:gd name="connsiteX124" fmla="*/ 279196 w 533723"/>
                  <a:gd name="connsiteY124" fmla="*/ 221148 h 418083"/>
                  <a:gd name="connsiteX125" fmla="*/ 281137 w 533723"/>
                  <a:gd name="connsiteY125" fmla="*/ 212759 h 418083"/>
                  <a:gd name="connsiteX126" fmla="*/ 280817 w 533723"/>
                  <a:gd name="connsiteY126" fmla="*/ 212855 h 418083"/>
                  <a:gd name="connsiteX127" fmla="*/ 280074 w 533723"/>
                  <a:gd name="connsiteY127" fmla="*/ 213019 h 418083"/>
                  <a:gd name="connsiteX128" fmla="*/ 208386 w 533723"/>
                  <a:gd name="connsiteY128" fmla="*/ 230868 h 418083"/>
                  <a:gd name="connsiteX129" fmla="*/ 129358 w 533723"/>
                  <a:gd name="connsiteY129" fmla="*/ 256155 h 418083"/>
                  <a:gd name="connsiteX130" fmla="*/ 76481 w 533723"/>
                  <a:gd name="connsiteY130" fmla="*/ 253856 h 418083"/>
                  <a:gd name="connsiteX131" fmla="*/ 56365 w 533723"/>
                  <a:gd name="connsiteY131" fmla="*/ 204718 h 418083"/>
                  <a:gd name="connsiteX132" fmla="*/ 6361 w 533723"/>
                  <a:gd name="connsiteY132" fmla="*/ 145234 h 418083"/>
                  <a:gd name="connsiteX133" fmla="*/ 4924 w 533723"/>
                  <a:gd name="connsiteY133" fmla="*/ 90923 h 418083"/>
                  <a:gd name="connsiteX134" fmla="*/ 26190 w 533723"/>
                  <a:gd name="connsiteY134" fmla="*/ 62762 h 418083"/>
                  <a:gd name="connsiteX135" fmla="*/ 51192 w 533723"/>
                  <a:gd name="connsiteY135" fmla="*/ 63624 h 418083"/>
                  <a:gd name="connsiteX136" fmla="*/ 92574 w 533723"/>
                  <a:gd name="connsiteY136" fmla="*/ 72245 h 418083"/>
                  <a:gd name="connsiteX137" fmla="*/ 148899 w 533723"/>
                  <a:gd name="connsiteY137" fmla="*/ 97533 h 418083"/>
                  <a:gd name="connsiteX138" fmla="*/ 100620 w 533723"/>
                  <a:gd name="connsiteY138" fmla="*/ 70233 h 418083"/>
                  <a:gd name="connsiteX139" fmla="*/ 68722 w 533723"/>
                  <a:gd name="connsiteY139" fmla="*/ 57877 h 418083"/>
                  <a:gd name="connsiteX140" fmla="*/ 95735 w 533723"/>
                  <a:gd name="connsiteY140" fmla="*/ 33739 h 418083"/>
                  <a:gd name="connsiteX141" fmla="*/ 118438 w 533723"/>
                  <a:gd name="connsiteY141" fmla="*/ 6440 h 418083"/>
                  <a:gd name="connsiteX142" fmla="*/ 135290 w 533723"/>
                  <a:gd name="connsiteY142" fmla="*/ 95 h 418083"/>
                  <a:gd name="connsiteX0" fmla="*/ 528506 w 533723"/>
                  <a:gd name="connsiteY0" fmla="*/ 291832 h 419386"/>
                  <a:gd name="connsiteX1" fmla="*/ 510121 w 533723"/>
                  <a:gd name="connsiteY1" fmla="*/ 300446 h 419386"/>
                  <a:gd name="connsiteX2" fmla="*/ 500354 w 533723"/>
                  <a:gd name="connsiteY2" fmla="*/ 302312 h 419386"/>
                  <a:gd name="connsiteX3" fmla="*/ 489695 w 533723"/>
                  <a:gd name="connsiteY3" fmla="*/ 299159 h 419386"/>
                  <a:gd name="connsiteX4" fmla="*/ 490953 w 533723"/>
                  <a:gd name="connsiteY4" fmla="*/ 302242 h 419386"/>
                  <a:gd name="connsiteX5" fmla="*/ 490826 w 533723"/>
                  <a:gd name="connsiteY5" fmla="*/ 302554 h 419386"/>
                  <a:gd name="connsiteX6" fmla="*/ 497481 w 533723"/>
                  <a:gd name="connsiteY6" fmla="*/ 306188 h 419386"/>
                  <a:gd name="connsiteX7" fmla="*/ 505812 w 533723"/>
                  <a:gd name="connsiteY7" fmla="*/ 305901 h 419386"/>
                  <a:gd name="connsiteX8" fmla="*/ 523335 w 533723"/>
                  <a:gd name="connsiteY8" fmla="*/ 297575 h 419386"/>
                  <a:gd name="connsiteX9" fmla="*/ 528506 w 533723"/>
                  <a:gd name="connsiteY9" fmla="*/ 291832 h 419386"/>
                  <a:gd name="connsiteX10" fmla="*/ 459095 w 533723"/>
                  <a:gd name="connsiteY10" fmla="*/ 214354 h 419386"/>
                  <a:gd name="connsiteX11" fmla="*/ 470185 w 533723"/>
                  <a:gd name="connsiteY11" fmla="*/ 232917 h 419386"/>
                  <a:gd name="connsiteX12" fmla="*/ 469083 w 533723"/>
                  <a:gd name="connsiteY12" fmla="*/ 236710 h 419386"/>
                  <a:gd name="connsiteX13" fmla="*/ 465107 w 533723"/>
                  <a:gd name="connsiteY13" fmla="*/ 228628 h 419386"/>
                  <a:gd name="connsiteX14" fmla="*/ 462850 w 533723"/>
                  <a:gd name="connsiteY14" fmla="*/ 223907 h 419386"/>
                  <a:gd name="connsiteX15" fmla="*/ 461361 w 533723"/>
                  <a:gd name="connsiteY15" fmla="*/ 220754 h 419386"/>
                  <a:gd name="connsiteX16" fmla="*/ 459095 w 533723"/>
                  <a:gd name="connsiteY16" fmla="*/ 214354 h 419386"/>
                  <a:gd name="connsiteX17" fmla="*/ 458921 w 533723"/>
                  <a:gd name="connsiteY17" fmla="*/ 213862 h 419386"/>
                  <a:gd name="connsiteX18" fmla="*/ 459095 w 533723"/>
                  <a:gd name="connsiteY18" fmla="*/ 214354 h 419386"/>
                  <a:gd name="connsiteX19" fmla="*/ 458953 w 533723"/>
                  <a:gd name="connsiteY19" fmla="*/ 214116 h 419386"/>
                  <a:gd name="connsiteX20" fmla="*/ 458921 w 533723"/>
                  <a:gd name="connsiteY20" fmla="*/ 213862 h 419386"/>
                  <a:gd name="connsiteX21" fmla="*/ 231642 w 533723"/>
                  <a:gd name="connsiteY21" fmla="*/ 117869 h 419386"/>
                  <a:gd name="connsiteX22" fmla="*/ 245739 w 533723"/>
                  <a:gd name="connsiteY22" fmla="*/ 119960 h 419386"/>
                  <a:gd name="connsiteX23" fmla="*/ 247479 w 533723"/>
                  <a:gd name="connsiteY23" fmla="*/ 117948 h 419386"/>
                  <a:gd name="connsiteX24" fmla="*/ 241439 w 533723"/>
                  <a:gd name="connsiteY24" fmla="*/ 117896 h 419386"/>
                  <a:gd name="connsiteX25" fmla="*/ 231642 w 533723"/>
                  <a:gd name="connsiteY25" fmla="*/ 117869 h 419386"/>
                  <a:gd name="connsiteX26" fmla="*/ 393966 w 533723"/>
                  <a:gd name="connsiteY26" fmla="*/ 59548 h 419386"/>
                  <a:gd name="connsiteX27" fmla="*/ 394760 w 533723"/>
                  <a:gd name="connsiteY27" fmla="*/ 61641 h 419386"/>
                  <a:gd name="connsiteX28" fmla="*/ 396543 w 533723"/>
                  <a:gd name="connsiteY28" fmla="*/ 61922 h 419386"/>
                  <a:gd name="connsiteX29" fmla="*/ 393966 w 533723"/>
                  <a:gd name="connsiteY29" fmla="*/ 59548 h 419386"/>
                  <a:gd name="connsiteX30" fmla="*/ 135290 w 533723"/>
                  <a:gd name="connsiteY30" fmla="*/ 95 h 419386"/>
                  <a:gd name="connsiteX31" fmla="*/ 142002 w 533723"/>
                  <a:gd name="connsiteY31" fmla="*/ 118 h 419386"/>
                  <a:gd name="connsiteX32" fmla="*/ 184247 w 533723"/>
                  <a:gd name="connsiteY32" fmla="*/ 9888 h 419386"/>
                  <a:gd name="connsiteX33" fmla="*/ 237411 w 533723"/>
                  <a:gd name="connsiteY33" fmla="*/ 31727 h 419386"/>
                  <a:gd name="connsiteX34" fmla="*/ 273908 w 533723"/>
                  <a:gd name="connsiteY34" fmla="*/ 50693 h 419386"/>
                  <a:gd name="connsiteX35" fmla="*/ 300993 w 533723"/>
                  <a:gd name="connsiteY35" fmla="*/ 65241 h 419386"/>
                  <a:gd name="connsiteX36" fmla="*/ 313770 w 533723"/>
                  <a:gd name="connsiteY36" fmla="*/ 72415 h 419386"/>
                  <a:gd name="connsiteX37" fmla="*/ 317458 w 533723"/>
                  <a:gd name="connsiteY37" fmla="*/ 74704 h 419386"/>
                  <a:gd name="connsiteX38" fmla="*/ 321989 w 533723"/>
                  <a:gd name="connsiteY38" fmla="*/ 77518 h 419386"/>
                  <a:gd name="connsiteX39" fmla="*/ 328509 w 533723"/>
                  <a:gd name="connsiteY39" fmla="*/ 81728 h 419386"/>
                  <a:gd name="connsiteX40" fmla="*/ 329950 w 533723"/>
                  <a:gd name="connsiteY40" fmla="*/ 82770 h 419386"/>
                  <a:gd name="connsiteX41" fmla="*/ 322786 w 533723"/>
                  <a:gd name="connsiteY41" fmla="*/ 67357 h 419386"/>
                  <a:gd name="connsiteX42" fmla="*/ 318179 w 533723"/>
                  <a:gd name="connsiteY42" fmla="*/ 66024 h 419386"/>
                  <a:gd name="connsiteX43" fmla="*/ 315145 w 533723"/>
                  <a:gd name="connsiteY43" fmla="*/ 65146 h 419386"/>
                  <a:gd name="connsiteX44" fmla="*/ 315984 w 533723"/>
                  <a:gd name="connsiteY44" fmla="*/ 64282 h 419386"/>
                  <a:gd name="connsiteX45" fmla="*/ 336115 w 533723"/>
                  <a:gd name="connsiteY45" fmla="*/ 45493 h 419386"/>
                  <a:gd name="connsiteX46" fmla="*/ 339135 w 533723"/>
                  <a:gd name="connsiteY46" fmla="*/ 43303 h 419386"/>
                  <a:gd name="connsiteX47" fmla="*/ 344556 w 533723"/>
                  <a:gd name="connsiteY47" fmla="*/ 40552 h 419386"/>
                  <a:gd name="connsiteX48" fmla="*/ 348957 w 533723"/>
                  <a:gd name="connsiteY48" fmla="*/ 38760 h 419386"/>
                  <a:gd name="connsiteX49" fmla="*/ 368054 w 533723"/>
                  <a:gd name="connsiteY49" fmla="*/ 34807 h 419386"/>
                  <a:gd name="connsiteX50" fmla="*/ 382234 w 533723"/>
                  <a:gd name="connsiteY50" fmla="*/ 37952 h 419386"/>
                  <a:gd name="connsiteX51" fmla="*/ 390275 w 533723"/>
                  <a:gd name="connsiteY51" fmla="*/ 35652 h 419386"/>
                  <a:gd name="connsiteX52" fmla="*/ 390840 w 533723"/>
                  <a:gd name="connsiteY52" fmla="*/ 35749 h 419386"/>
                  <a:gd name="connsiteX53" fmla="*/ 391575 w 533723"/>
                  <a:gd name="connsiteY53" fmla="*/ 35894 h 419386"/>
                  <a:gd name="connsiteX54" fmla="*/ 391750 w 533723"/>
                  <a:gd name="connsiteY54" fmla="*/ 35955 h 419386"/>
                  <a:gd name="connsiteX55" fmla="*/ 392615 w 533723"/>
                  <a:gd name="connsiteY55" fmla="*/ 36327 h 419386"/>
                  <a:gd name="connsiteX56" fmla="*/ 393242 w 533723"/>
                  <a:gd name="connsiteY56" fmla="*/ 36306 h 419386"/>
                  <a:gd name="connsiteX57" fmla="*/ 393406 w 533723"/>
                  <a:gd name="connsiteY57" fmla="*/ 36317 h 419386"/>
                  <a:gd name="connsiteX58" fmla="*/ 397383 w 533723"/>
                  <a:gd name="connsiteY58" fmla="*/ 37341 h 419386"/>
                  <a:gd name="connsiteX59" fmla="*/ 408367 w 533723"/>
                  <a:gd name="connsiteY59" fmla="*/ 43126 h 419386"/>
                  <a:gd name="connsiteX60" fmla="*/ 459773 w 533723"/>
                  <a:gd name="connsiteY60" fmla="*/ 126491 h 419386"/>
                  <a:gd name="connsiteX61" fmla="*/ 441680 w 533723"/>
                  <a:gd name="connsiteY61" fmla="*/ 188008 h 419386"/>
                  <a:gd name="connsiteX62" fmla="*/ 442553 w 533723"/>
                  <a:gd name="connsiteY62" fmla="*/ 192637 h 419386"/>
                  <a:gd name="connsiteX63" fmla="*/ 443081 w 533723"/>
                  <a:gd name="connsiteY63" fmla="*/ 194875 h 419386"/>
                  <a:gd name="connsiteX64" fmla="*/ 451172 w 533723"/>
                  <a:gd name="connsiteY64" fmla="*/ 201092 h 419386"/>
                  <a:gd name="connsiteX65" fmla="*/ 458953 w 533723"/>
                  <a:gd name="connsiteY65" fmla="*/ 214116 h 419386"/>
                  <a:gd name="connsiteX66" fmla="*/ 459209 w 533723"/>
                  <a:gd name="connsiteY66" fmla="*/ 216161 h 419386"/>
                  <a:gd name="connsiteX67" fmla="*/ 460971 w 533723"/>
                  <a:gd name="connsiteY67" fmla="*/ 219929 h 419386"/>
                  <a:gd name="connsiteX68" fmla="*/ 461361 w 533723"/>
                  <a:gd name="connsiteY68" fmla="*/ 220754 h 419386"/>
                  <a:gd name="connsiteX69" fmla="*/ 470303 w 533723"/>
                  <a:gd name="connsiteY69" fmla="*/ 246015 h 419386"/>
                  <a:gd name="connsiteX70" fmla="*/ 469962 w 533723"/>
                  <a:gd name="connsiteY70" fmla="*/ 245448 h 419386"/>
                  <a:gd name="connsiteX71" fmla="*/ 468971 w 533723"/>
                  <a:gd name="connsiteY71" fmla="*/ 243799 h 419386"/>
                  <a:gd name="connsiteX72" fmla="*/ 464115 w 533723"/>
                  <a:gd name="connsiteY72" fmla="*/ 240660 h 419386"/>
                  <a:gd name="connsiteX73" fmla="*/ 457544 w 533723"/>
                  <a:gd name="connsiteY73" fmla="*/ 239804 h 419386"/>
                  <a:gd name="connsiteX74" fmla="*/ 463829 w 533723"/>
                  <a:gd name="connsiteY74" fmla="*/ 242086 h 419386"/>
                  <a:gd name="connsiteX75" fmla="*/ 469895 w 533723"/>
                  <a:gd name="connsiteY75" fmla="*/ 245979 h 419386"/>
                  <a:gd name="connsiteX76" fmla="*/ 470460 w 533723"/>
                  <a:gd name="connsiteY76" fmla="*/ 246460 h 419386"/>
                  <a:gd name="connsiteX77" fmla="*/ 485321 w 533723"/>
                  <a:gd name="connsiteY77" fmla="*/ 288443 h 419386"/>
                  <a:gd name="connsiteX78" fmla="*/ 485666 w 533723"/>
                  <a:gd name="connsiteY78" fmla="*/ 289289 h 419386"/>
                  <a:gd name="connsiteX79" fmla="*/ 485392 w 533723"/>
                  <a:gd name="connsiteY79" fmla="*/ 285754 h 419386"/>
                  <a:gd name="connsiteX80" fmla="*/ 485409 w 533723"/>
                  <a:gd name="connsiteY80" fmla="*/ 284254 h 419386"/>
                  <a:gd name="connsiteX81" fmla="*/ 485552 w 533723"/>
                  <a:gd name="connsiteY81" fmla="*/ 284634 h 419386"/>
                  <a:gd name="connsiteX82" fmla="*/ 487684 w 533723"/>
                  <a:gd name="connsiteY82" fmla="*/ 290297 h 419386"/>
                  <a:gd name="connsiteX83" fmla="*/ 487716 w 533723"/>
                  <a:gd name="connsiteY83" fmla="*/ 290381 h 419386"/>
                  <a:gd name="connsiteX84" fmla="*/ 487709 w 533723"/>
                  <a:gd name="connsiteY84" fmla="*/ 290382 h 419386"/>
                  <a:gd name="connsiteX85" fmla="*/ 486150 w 533723"/>
                  <a:gd name="connsiteY85" fmla="*/ 290474 h 419386"/>
                  <a:gd name="connsiteX86" fmla="*/ 488742 w 533723"/>
                  <a:gd name="connsiteY86" fmla="*/ 296824 h 419386"/>
                  <a:gd name="connsiteX87" fmla="*/ 494320 w 533723"/>
                  <a:gd name="connsiteY87" fmla="*/ 295556 h 419386"/>
                  <a:gd name="connsiteX88" fmla="*/ 512429 w 533723"/>
                  <a:gd name="connsiteY88" fmla="*/ 291820 h 419386"/>
                  <a:gd name="connsiteX89" fmla="*/ 519005 w 533723"/>
                  <a:gd name="connsiteY89" fmla="*/ 287509 h 419386"/>
                  <a:gd name="connsiteX90" fmla="*/ 520508 w 533723"/>
                  <a:gd name="connsiteY90" fmla="*/ 286839 h 419386"/>
                  <a:gd name="connsiteX91" fmla="*/ 522424 w 533723"/>
                  <a:gd name="connsiteY91" fmla="*/ 286502 h 419386"/>
                  <a:gd name="connsiteX92" fmla="*/ 523091 w 533723"/>
                  <a:gd name="connsiteY92" fmla="*/ 286385 h 419386"/>
                  <a:gd name="connsiteX93" fmla="*/ 525364 w 533723"/>
                  <a:gd name="connsiteY93" fmla="*/ 286646 h 419386"/>
                  <a:gd name="connsiteX94" fmla="*/ 533413 w 533723"/>
                  <a:gd name="connsiteY94" fmla="*/ 297855 h 419386"/>
                  <a:gd name="connsiteX95" fmla="*/ 530826 w 533723"/>
                  <a:gd name="connsiteY95" fmla="*/ 316249 h 419386"/>
                  <a:gd name="connsiteX96" fmla="*/ 530588 w 533723"/>
                  <a:gd name="connsiteY96" fmla="*/ 318085 h 419386"/>
                  <a:gd name="connsiteX97" fmla="*/ 530192 w 533723"/>
                  <a:gd name="connsiteY97" fmla="*/ 320320 h 419386"/>
                  <a:gd name="connsiteX98" fmla="*/ 529838 w 533723"/>
                  <a:gd name="connsiteY98" fmla="*/ 321637 h 419386"/>
                  <a:gd name="connsiteX99" fmla="*/ 526883 w 533723"/>
                  <a:gd name="connsiteY99" fmla="*/ 332653 h 419386"/>
                  <a:gd name="connsiteX100" fmla="*/ 524435 w 533723"/>
                  <a:gd name="connsiteY100" fmla="*/ 341781 h 419386"/>
                  <a:gd name="connsiteX101" fmla="*/ 519934 w 533723"/>
                  <a:gd name="connsiteY101" fmla="*/ 353045 h 419386"/>
                  <a:gd name="connsiteX102" fmla="*/ 493458 w 533723"/>
                  <a:gd name="connsiteY102" fmla="*/ 392987 h 419386"/>
                  <a:gd name="connsiteX103" fmla="*/ 421143 w 533723"/>
                  <a:gd name="connsiteY103" fmla="*/ 403455 h 419386"/>
                  <a:gd name="connsiteX104" fmla="*/ 416615 w 533723"/>
                  <a:gd name="connsiteY104" fmla="*/ 401105 h 419386"/>
                  <a:gd name="connsiteX105" fmla="*/ 401019 w 533723"/>
                  <a:gd name="connsiteY105" fmla="*/ 392405 h 419386"/>
                  <a:gd name="connsiteX106" fmla="*/ 382546 w 533723"/>
                  <a:gd name="connsiteY106" fmla="*/ 418083 h 419386"/>
                  <a:gd name="connsiteX107" fmla="*/ 364512 w 533723"/>
                  <a:gd name="connsiteY107" fmla="*/ 414388 h 419386"/>
                  <a:gd name="connsiteX108" fmla="*/ 362260 w 533723"/>
                  <a:gd name="connsiteY108" fmla="*/ 412847 h 419386"/>
                  <a:gd name="connsiteX109" fmla="*/ 359508 w 533723"/>
                  <a:gd name="connsiteY109" fmla="*/ 412530 h 419386"/>
                  <a:gd name="connsiteX110" fmla="*/ 354180 w 533723"/>
                  <a:gd name="connsiteY110" fmla="*/ 409493 h 419386"/>
                  <a:gd name="connsiteX111" fmla="*/ 351263 w 533723"/>
                  <a:gd name="connsiteY111" fmla="*/ 406931 h 419386"/>
                  <a:gd name="connsiteX112" fmla="*/ 351015 w 533723"/>
                  <a:gd name="connsiteY112" fmla="*/ 406713 h 419386"/>
                  <a:gd name="connsiteX113" fmla="*/ 348397 w 533723"/>
                  <a:gd name="connsiteY113" fmla="*/ 403432 h 419386"/>
                  <a:gd name="connsiteX114" fmla="*/ 347445 w 533723"/>
                  <a:gd name="connsiteY114" fmla="*/ 401927 h 419386"/>
                  <a:gd name="connsiteX115" fmla="*/ 345319 w 533723"/>
                  <a:gd name="connsiteY115" fmla="*/ 397536 h 419386"/>
                  <a:gd name="connsiteX116" fmla="*/ 344561 w 533723"/>
                  <a:gd name="connsiteY116" fmla="*/ 395286 h 419386"/>
                  <a:gd name="connsiteX117" fmla="*/ 335650 w 533723"/>
                  <a:gd name="connsiteY117" fmla="*/ 375455 h 419386"/>
                  <a:gd name="connsiteX118" fmla="*/ 322714 w 533723"/>
                  <a:gd name="connsiteY118" fmla="*/ 362234 h 419386"/>
                  <a:gd name="connsiteX119" fmla="*/ 319648 w 533723"/>
                  <a:gd name="connsiteY119" fmla="*/ 358159 h 419386"/>
                  <a:gd name="connsiteX120" fmla="*/ 319434 w 533723"/>
                  <a:gd name="connsiteY120" fmla="*/ 357823 h 419386"/>
                  <a:gd name="connsiteX121" fmla="*/ 314734 w 533723"/>
                  <a:gd name="connsiteY121" fmla="*/ 350455 h 419386"/>
                  <a:gd name="connsiteX122" fmla="*/ 319052 w 533723"/>
                  <a:gd name="connsiteY122" fmla="*/ 316733 h 419386"/>
                  <a:gd name="connsiteX123" fmla="*/ 323333 w 533723"/>
                  <a:gd name="connsiteY123" fmla="*/ 310656 h 419386"/>
                  <a:gd name="connsiteX124" fmla="*/ 320679 w 533723"/>
                  <a:gd name="connsiteY124" fmla="*/ 310837 h 419386"/>
                  <a:gd name="connsiteX125" fmla="*/ 316984 w 533723"/>
                  <a:gd name="connsiteY125" fmla="*/ 309959 h 419386"/>
                  <a:gd name="connsiteX126" fmla="*/ 278469 w 533723"/>
                  <a:gd name="connsiteY126" fmla="*/ 281787 h 419386"/>
                  <a:gd name="connsiteX127" fmla="*/ 279196 w 533723"/>
                  <a:gd name="connsiteY127" fmla="*/ 221148 h 419386"/>
                  <a:gd name="connsiteX128" fmla="*/ 281137 w 533723"/>
                  <a:gd name="connsiteY128" fmla="*/ 212759 h 419386"/>
                  <a:gd name="connsiteX129" fmla="*/ 280817 w 533723"/>
                  <a:gd name="connsiteY129" fmla="*/ 212855 h 419386"/>
                  <a:gd name="connsiteX130" fmla="*/ 280074 w 533723"/>
                  <a:gd name="connsiteY130" fmla="*/ 213019 h 419386"/>
                  <a:gd name="connsiteX131" fmla="*/ 208386 w 533723"/>
                  <a:gd name="connsiteY131" fmla="*/ 230868 h 419386"/>
                  <a:gd name="connsiteX132" fmla="*/ 129358 w 533723"/>
                  <a:gd name="connsiteY132" fmla="*/ 256155 h 419386"/>
                  <a:gd name="connsiteX133" fmla="*/ 76481 w 533723"/>
                  <a:gd name="connsiteY133" fmla="*/ 253856 h 419386"/>
                  <a:gd name="connsiteX134" fmla="*/ 56365 w 533723"/>
                  <a:gd name="connsiteY134" fmla="*/ 204718 h 419386"/>
                  <a:gd name="connsiteX135" fmla="*/ 6361 w 533723"/>
                  <a:gd name="connsiteY135" fmla="*/ 145234 h 419386"/>
                  <a:gd name="connsiteX136" fmla="*/ 4924 w 533723"/>
                  <a:gd name="connsiteY136" fmla="*/ 90923 h 419386"/>
                  <a:gd name="connsiteX137" fmla="*/ 26190 w 533723"/>
                  <a:gd name="connsiteY137" fmla="*/ 62762 h 419386"/>
                  <a:gd name="connsiteX138" fmla="*/ 51192 w 533723"/>
                  <a:gd name="connsiteY138" fmla="*/ 63624 h 419386"/>
                  <a:gd name="connsiteX139" fmla="*/ 92574 w 533723"/>
                  <a:gd name="connsiteY139" fmla="*/ 72245 h 419386"/>
                  <a:gd name="connsiteX140" fmla="*/ 148899 w 533723"/>
                  <a:gd name="connsiteY140" fmla="*/ 97533 h 419386"/>
                  <a:gd name="connsiteX141" fmla="*/ 100620 w 533723"/>
                  <a:gd name="connsiteY141" fmla="*/ 70233 h 419386"/>
                  <a:gd name="connsiteX142" fmla="*/ 68722 w 533723"/>
                  <a:gd name="connsiteY142" fmla="*/ 57877 h 419386"/>
                  <a:gd name="connsiteX143" fmla="*/ 95735 w 533723"/>
                  <a:gd name="connsiteY143" fmla="*/ 33739 h 419386"/>
                  <a:gd name="connsiteX144" fmla="*/ 118438 w 533723"/>
                  <a:gd name="connsiteY144" fmla="*/ 6440 h 419386"/>
                  <a:gd name="connsiteX145" fmla="*/ 135290 w 533723"/>
                  <a:gd name="connsiteY145" fmla="*/ 95 h 419386"/>
                  <a:gd name="connsiteX0" fmla="*/ 528506 w 533723"/>
                  <a:gd name="connsiteY0" fmla="*/ 291832 h 415347"/>
                  <a:gd name="connsiteX1" fmla="*/ 510121 w 533723"/>
                  <a:gd name="connsiteY1" fmla="*/ 300446 h 415347"/>
                  <a:gd name="connsiteX2" fmla="*/ 500354 w 533723"/>
                  <a:gd name="connsiteY2" fmla="*/ 302312 h 415347"/>
                  <a:gd name="connsiteX3" fmla="*/ 489695 w 533723"/>
                  <a:gd name="connsiteY3" fmla="*/ 299159 h 415347"/>
                  <a:gd name="connsiteX4" fmla="*/ 490953 w 533723"/>
                  <a:gd name="connsiteY4" fmla="*/ 302242 h 415347"/>
                  <a:gd name="connsiteX5" fmla="*/ 490826 w 533723"/>
                  <a:gd name="connsiteY5" fmla="*/ 302554 h 415347"/>
                  <a:gd name="connsiteX6" fmla="*/ 497481 w 533723"/>
                  <a:gd name="connsiteY6" fmla="*/ 306188 h 415347"/>
                  <a:gd name="connsiteX7" fmla="*/ 505812 w 533723"/>
                  <a:gd name="connsiteY7" fmla="*/ 305901 h 415347"/>
                  <a:gd name="connsiteX8" fmla="*/ 523335 w 533723"/>
                  <a:gd name="connsiteY8" fmla="*/ 297575 h 415347"/>
                  <a:gd name="connsiteX9" fmla="*/ 528506 w 533723"/>
                  <a:gd name="connsiteY9" fmla="*/ 291832 h 415347"/>
                  <a:gd name="connsiteX10" fmla="*/ 459095 w 533723"/>
                  <a:gd name="connsiteY10" fmla="*/ 214354 h 415347"/>
                  <a:gd name="connsiteX11" fmla="*/ 470185 w 533723"/>
                  <a:gd name="connsiteY11" fmla="*/ 232917 h 415347"/>
                  <a:gd name="connsiteX12" fmla="*/ 469083 w 533723"/>
                  <a:gd name="connsiteY12" fmla="*/ 236710 h 415347"/>
                  <a:gd name="connsiteX13" fmla="*/ 465107 w 533723"/>
                  <a:gd name="connsiteY13" fmla="*/ 228628 h 415347"/>
                  <a:gd name="connsiteX14" fmla="*/ 462850 w 533723"/>
                  <a:gd name="connsiteY14" fmla="*/ 223907 h 415347"/>
                  <a:gd name="connsiteX15" fmla="*/ 461361 w 533723"/>
                  <a:gd name="connsiteY15" fmla="*/ 220754 h 415347"/>
                  <a:gd name="connsiteX16" fmla="*/ 459095 w 533723"/>
                  <a:gd name="connsiteY16" fmla="*/ 214354 h 415347"/>
                  <a:gd name="connsiteX17" fmla="*/ 458921 w 533723"/>
                  <a:gd name="connsiteY17" fmla="*/ 213862 h 415347"/>
                  <a:gd name="connsiteX18" fmla="*/ 459095 w 533723"/>
                  <a:gd name="connsiteY18" fmla="*/ 214354 h 415347"/>
                  <a:gd name="connsiteX19" fmla="*/ 458953 w 533723"/>
                  <a:gd name="connsiteY19" fmla="*/ 214116 h 415347"/>
                  <a:gd name="connsiteX20" fmla="*/ 458921 w 533723"/>
                  <a:gd name="connsiteY20" fmla="*/ 213862 h 415347"/>
                  <a:gd name="connsiteX21" fmla="*/ 231642 w 533723"/>
                  <a:gd name="connsiteY21" fmla="*/ 117869 h 415347"/>
                  <a:gd name="connsiteX22" fmla="*/ 245739 w 533723"/>
                  <a:gd name="connsiteY22" fmla="*/ 119960 h 415347"/>
                  <a:gd name="connsiteX23" fmla="*/ 247479 w 533723"/>
                  <a:gd name="connsiteY23" fmla="*/ 117948 h 415347"/>
                  <a:gd name="connsiteX24" fmla="*/ 241439 w 533723"/>
                  <a:gd name="connsiteY24" fmla="*/ 117896 h 415347"/>
                  <a:gd name="connsiteX25" fmla="*/ 231642 w 533723"/>
                  <a:gd name="connsiteY25" fmla="*/ 117869 h 415347"/>
                  <a:gd name="connsiteX26" fmla="*/ 393966 w 533723"/>
                  <a:gd name="connsiteY26" fmla="*/ 59548 h 415347"/>
                  <a:gd name="connsiteX27" fmla="*/ 394760 w 533723"/>
                  <a:gd name="connsiteY27" fmla="*/ 61641 h 415347"/>
                  <a:gd name="connsiteX28" fmla="*/ 396543 w 533723"/>
                  <a:gd name="connsiteY28" fmla="*/ 61922 h 415347"/>
                  <a:gd name="connsiteX29" fmla="*/ 393966 w 533723"/>
                  <a:gd name="connsiteY29" fmla="*/ 59548 h 415347"/>
                  <a:gd name="connsiteX30" fmla="*/ 135290 w 533723"/>
                  <a:gd name="connsiteY30" fmla="*/ 95 h 415347"/>
                  <a:gd name="connsiteX31" fmla="*/ 142002 w 533723"/>
                  <a:gd name="connsiteY31" fmla="*/ 118 h 415347"/>
                  <a:gd name="connsiteX32" fmla="*/ 184247 w 533723"/>
                  <a:gd name="connsiteY32" fmla="*/ 9888 h 415347"/>
                  <a:gd name="connsiteX33" fmla="*/ 237411 w 533723"/>
                  <a:gd name="connsiteY33" fmla="*/ 31727 h 415347"/>
                  <a:gd name="connsiteX34" fmla="*/ 273908 w 533723"/>
                  <a:gd name="connsiteY34" fmla="*/ 50693 h 415347"/>
                  <a:gd name="connsiteX35" fmla="*/ 300993 w 533723"/>
                  <a:gd name="connsiteY35" fmla="*/ 65241 h 415347"/>
                  <a:gd name="connsiteX36" fmla="*/ 313770 w 533723"/>
                  <a:gd name="connsiteY36" fmla="*/ 72415 h 415347"/>
                  <a:gd name="connsiteX37" fmla="*/ 317458 w 533723"/>
                  <a:gd name="connsiteY37" fmla="*/ 74704 h 415347"/>
                  <a:gd name="connsiteX38" fmla="*/ 321989 w 533723"/>
                  <a:gd name="connsiteY38" fmla="*/ 77518 h 415347"/>
                  <a:gd name="connsiteX39" fmla="*/ 328509 w 533723"/>
                  <a:gd name="connsiteY39" fmla="*/ 81728 h 415347"/>
                  <a:gd name="connsiteX40" fmla="*/ 329950 w 533723"/>
                  <a:gd name="connsiteY40" fmla="*/ 82770 h 415347"/>
                  <a:gd name="connsiteX41" fmla="*/ 322786 w 533723"/>
                  <a:gd name="connsiteY41" fmla="*/ 67357 h 415347"/>
                  <a:gd name="connsiteX42" fmla="*/ 318179 w 533723"/>
                  <a:gd name="connsiteY42" fmla="*/ 66024 h 415347"/>
                  <a:gd name="connsiteX43" fmla="*/ 315145 w 533723"/>
                  <a:gd name="connsiteY43" fmla="*/ 65146 h 415347"/>
                  <a:gd name="connsiteX44" fmla="*/ 315984 w 533723"/>
                  <a:gd name="connsiteY44" fmla="*/ 64282 h 415347"/>
                  <a:gd name="connsiteX45" fmla="*/ 336115 w 533723"/>
                  <a:gd name="connsiteY45" fmla="*/ 45493 h 415347"/>
                  <a:gd name="connsiteX46" fmla="*/ 339135 w 533723"/>
                  <a:gd name="connsiteY46" fmla="*/ 43303 h 415347"/>
                  <a:gd name="connsiteX47" fmla="*/ 344556 w 533723"/>
                  <a:gd name="connsiteY47" fmla="*/ 40552 h 415347"/>
                  <a:gd name="connsiteX48" fmla="*/ 348957 w 533723"/>
                  <a:gd name="connsiteY48" fmla="*/ 38760 h 415347"/>
                  <a:gd name="connsiteX49" fmla="*/ 368054 w 533723"/>
                  <a:gd name="connsiteY49" fmla="*/ 34807 h 415347"/>
                  <a:gd name="connsiteX50" fmla="*/ 382234 w 533723"/>
                  <a:gd name="connsiteY50" fmla="*/ 37952 h 415347"/>
                  <a:gd name="connsiteX51" fmla="*/ 390275 w 533723"/>
                  <a:gd name="connsiteY51" fmla="*/ 35652 h 415347"/>
                  <a:gd name="connsiteX52" fmla="*/ 390840 w 533723"/>
                  <a:gd name="connsiteY52" fmla="*/ 35749 h 415347"/>
                  <a:gd name="connsiteX53" fmla="*/ 391575 w 533723"/>
                  <a:gd name="connsiteY53" fmla="*/ 35894 h 415347"/>
                  <a:gd name="connsiteX54" fmla="*/ 391750 w 533723"/>
                  <a:gd name="connsiteY54" fmla="*/ 35955 h 415347"/>
                  <a:gd name="connsiteX55" fmla="*/ 392615 w 533723"/>
                  <a:gd name="connsiteY55" fmla="*/ 36327 h 415347"/>
                  <a:gd name="connsiteX56" fmla="*/ 393242 w 533723"/>
                  <a:gd name="connsiteY56" fmla="*/ 36306 h 415347"/>
                  <a:gd name="connsiteX57" fmla="*/ 393406 w 533723"/>
                  <a:gd name="connsiteY57" fmla="*/ 36317 h 415347"/>
                  <a:gd name="connsiteX58" fmla="*/ 397383 w 533723"/>
                  <a:gd name="connsiteY58" fmla="*/ 37341 h 415347"/>
                  <a:gd name="connsiteX59" fmla="*/ 408367 w 533723"/>
                  <a:gd name="connsiteY59" fmla="*/ 43126 h 415347"/>
                  <a:gd name="connsiteX60" fmla="*/ 459773 w 533723"/>
                  <a:gd name="connsiteY60" fmla="*/ 126491 h 415347"/>
                  <a:gd name="connsiteX61" fmla="*/ 441680 w 533723"/>
                  <a:gd name="connsiteY61" fmla="*/ 188008 h 415347"/>
                  <a:gd name="connsiteX62" fmla="*/ 442553 w 533723"/>
                  <a:gd name="connsiteY62" fmla="*/ 192637 h 415347"/>
                  <a:gd name="connsiteX63" fmla="*/ 443081 w 533723"/>
                  <a:gd name="connsiteY63" fmla="*/ 194875 h 415347"/>
                  <a:gd name="connsiteX64" fmla="*/ 451172 w 533723"/>
                  <a:gd name="connsiteY64" fmla="*/ 201092 h 415347"/>
                  <a:gd name="connsiteX65" fmla="*/ 458953 w 533723"/>
                  <a:gd name="connsiteY65" fmla="*/ 214116 h 415347"/>
                  <a:gd name="connsiteX66" fmla="*/ 459209 w 533723"/>
                  <a:gd name="connsiteY66" fmla="*/ 216161 h 415347"/>
                  <a:gd name="connsiteX67" fmla="*/ 460971 w 533723"/>
                  <a:gd name="connsiteY67" fmla="*/ 219929 h 415347"/>
                  <a:gd name="connsiteX68" fmla="*/ 461361 w 533723"/>
                  <a:gd name="connsiteY68" fmla="*/ 220754 h 415347"/>
                  <a:gd name="connsiteX69" fmla="*/ 470303 w 533723"/>
                  <a:gd name="connsiteY69" fmla="*/ 246015 h 415347"/>
                  <a:gd name="connsiteX70" fmla="*/ 469962 w 533723"/>
                  <a:gd name="connsiteY70" fmla="*/ 245448 h 415347"/>
                  <a:gd name="connsiteX71" fmla="*/ 468971 w 533723"/>
                  <a:gd name="connsiteY71" fmla="*/ 243799 h 415347"/>
                  <a:gd name="connsiteX72" fmla="*/ 464115 w 533723"/>
                  <a:gd name="connsiteY72" fmla="*/ 240660 h 415347"/>
                  <a:gd name="connsiteX73" fmla="*/ 457544 w 533723"/>
                  <a:gd name="connsiteY73" fmla="*/ 239804 h 415347"/>
                  <a:gd name="connsiteX74" fmla="*/ 463829 w 533723"/>
                  <a:gd name="connsiteY74" fmla="*/ 242086 h 415347"/>
                  <a:gd name="connsiteX75" fmla="*/ 469895 w 533723"/>
                  <a:gd name="connsiteY75" fmla="*/ 245979 h 415347"/>
                  <a:gd name="connsiteX76" fmla="*/ 470460 w 533723"/>
                  <a:gd name="connsiteY76" fmla="*/ 246460 h 415347"/>
                  <a:gd name="connsiteX77" fmla="*/ 485321 w 533723"/>
                  <a:gd name="connsiteY77" fmla="*/ 288443 h 415347"/>
                  <a:gd name="connsiteX78" fmla="*/ 485666 w 533723"/>
                  <a:gd name="connsiteY78" fmla="*/ 289289 h 415347"/>
                  <a:gd name="connsiteX79" fmla="*/ 485392 w 533723"/>
                  <a:gd name="connsiteY79" fmla="*/ 285754 h 415347"/>
                  <a:gd name="connsiteX80" fmla="*/ 485409 w 533723"/>
                  <a:gd name="connsiteY80" fmla="*/ 284254 h 415347"/>
                  <a:gd name="connsiteX81" fmla="*/ 485552 w 533723"/>
                  <a:gd name="connsiteY81" fmla="*/ 284634 h 415347"/>
                  <a:gd name="connsiteX82" fmla="*/ 487684 w 533723"/>
                  <a:gd name="connsiteY82" fmla="*/ 290297 h 415347"/>
                  <a:gd name="connsiteX83" fmla="*/ 487716 w 533723"/>
                  <a:gd name="connsiteY83" fmla="*/ 290381 h 415347"/>
                  <a:gd name="connsiteX84" fmla="*/ 487709 w 533723"/>
                  <a:gd name="connsiteY84" fmla="*/ 290382 h 415347"/>
                  <a:gd name="connsiteX85" fmla="*/ 486150 w 533723"/>
                  <a:gd name="connsiteY85" fmla="*/ 290474 h 415347"/>
                  <a:gd name="connsiteX86" fmla="*/ 488742 w 533723"/>
                  <a:gd name="connsiteY86" fmla="*/ 296824 h 415347"/>
                  <a:gd name="connsiteX87" fmla="*/ 494320 w 533723"/>
                  <a:gd name="connsiteY87" fmla="*/ 295556 h 415347"/>
                  <a:gd name="connsiteX88" fmla="*/ 512429 w 533723"/>
                  <a:gd name="connsiteY88" fmla="*/ 291820 h 415347"/>
                  <a:gd name="connsiteX89" fmla="*/ 519005 w 533723"/>
                  <a:gd name="connsiteY89" fmla="*/ 287509 h 415347"/>
                  <a:gd name="connsiteX90" fmla="*/ 520508 w 533723"/>
                  <a:gd name="connsiteY90" fmla="*/ 286839 h 415347"/>
                  <a:gd name="connsiteX91" fmla="*/ 522424 w 533723"/>
                  <a:gd name="connsiteY91" fmla="*/ 286502 h 415347"/>
                  <a:gd name="connsiteX92" fmla="*/ 523091 w 533723"/>
                  <a:gd name="connsiteY92" fmla="*/ 286385 h 415347"/>
                  <a:gd name="connsiteX93" fmla="*/ 525364 w 533723"/>
                  <a:gd name="connsiteY93" fmla="*/ 286646 h 415347"/>
                  <a:gd name="connsiteX94" fmla="*/ 533413 w 533723"/>
                  <a:gd name="connsiteY94" fmla="*/ 297855 h 415347"/>
                  <a:gd name="connsiteX95" fmla="*/ 530826 w 533723"/>
                  <a:gd name="connsiteY95" fmla="*/ 316249 h 415347"/>
                  <a:gd name="connsiteX96" fmla="*/ 530588 w 533723"/>
                  <a:gd name="connsiteY96" fmla="*/ 318085 h 415347"/>
                  <a:gd name="connsiteX97" fmla="*/ 530192 w 533723"/>
                  <a:gd name="connsiteY97" fmla="*/ 320320 h 415347"/>
                  <a:gd name="connsiteX98" fmla="*/ 529838 w 533723"/>
                  <a:gd name="connsiteY98" fmla="*/ 321637 h 415347"/>
                  <a:gd name="connsiteX99" fmla="*/ 526883 w 533723"/>
                  <a:gd name="connsiteY99" fmla="*/ 332653 h 415347"/>
                  <a:gd name="connsiteX100" fmla="*/ 524435 w 533723"/>
                  <a:gd name="connsiteY100" fmla="*/ 341781 h 415347"/>
                  <a:gd name="connsiteX101" fmla="*/ 519934 w 533723"/>
                  <a:gd name="connsiteY101" fmla="*/ 353045 h 415347"/>
                  <a:gd name="connsiteX102" fmla="*/ 493458 w 533723"/>
                  <a:gd name="connsiteY102" fmla="*/ 392987 h 415347"/>
                  <a:gd name="connsiteX103" fmla="*/ 421143 w 533723"/>
                  <a:gd name="connsiteY103" fmla="*/ 403455 h 415347"/>
                  <a:gd name="connsiteX104" fmla="*/ 416615 w 533723"/>
                  <a:gd name="connsiteY104" fmla="*/ 401105 h 415347"/>
                  <a:gd name="connsiteX105" fmla="*/ 401019 w 533723"/>
                  <a:gd name="connsiteY105" fmla="*/ 392405 h 415347"/>
                  <a:gd name="connsiteX106" fmla="*/ 381629 w 533723"/>
                  <a:gd name="connsiteY106" fmla="*/ 410745 h 415347"/>
                  <a:gd name="connsiteX107" fmla="*/ 364512 w 533723"/>
                  <a:gd name="connsiteY107" fmla="*/ 414388 h 415347"/>
                  <a:gd name="connsiteX108" fmla="*/ 362260 w 533723"/>
                  <a:gd name="connsiteY108" fmla="*/ 412847 h 415347"/>
                  <a:gd name="connsiteX109" fmla="*/ 359508 w 533723"/>
                  <a:gd name="connsiteY109" fmla="*/ 412530 h 415347"/>
                  <a:gd name="connsiteX110" fmla="*/ 354180 w 533723"/>
                  <a:gd name="connsiteY110" fmla="*/ 409493 h 415347"/>
                  <a:gd name="connsiteX111" fmla="*/ 351263 w 533723"/>
                  <a:gd name="connsiteY111" fmla="*/ 406931 h 415347"/>
                  <a:gd name="connsiteX112" fmla="*/ 351015 w 533723"/>
                  <a:gd name="connsiteY112" fmla="*/ 406713 h 415347"/>
                  <a:gd name="connsiteX113" fmla="*/ 348397 w 533723"/>
                  <a:gd name="connsiteY113" fmla="*/ 403432 h 415347"/>
                  <a:gd name="connsiteX114" fmla="*/ 347445 w 533723"/>
                  <a:gd name="connsiteY114" fmla="*/ 401927 h 415347"/>
                  <a:gd name="connsiteX115" fmla="*/ 345319 w 533723"/>
                  <a:gd name="connsiteY115" fmla="*/ 397536 h 415347"/>
                  <a:gd name="connsiteX116" fmla="*/ 344561 w 533723"/>
                  <a:gd name="connsiteY116" fmla="*/ 395286 h 415347"/>
                  <a:gd name="connsiteX117" fmla="*/ 335650 w 533723"/>
                  <a:gd name="connsiteY117" fmla="*/ 375455 h 415347"/>
                  <a:gd name="connsiteX118" fmla="*/ 322714 w 533723"/>
                  <a:gd name="connsiteY118" fmla="*/ 362234 h 415347"/>
                  <a:gd name="connsiteX119" fmla="*/ 319648 w 533723"/>
                  <a:gd name="connsiteY119" fmla="*/ 358159 h 415347"/>
                  <a:gd name="connsiteX120" fmla="*/ 319434 w 533723"/>
                  <a:gd name="connsiteY120" fmla="*/ 357823 h 415347"/>
                  <a:gd name="connsiteX121" fmla="*/ 314734 w 533723"/>
                  <a:gd name="connsiteY121" fmla="*/ 350455 h 415347"/>
                  <a:gd name="connsiteX122" fmla="*/ 319052 w 533723"/>
                  <a:gd name="connsiteY122" fmla="*/ 316733 h 415347"/>
                  <a:gd name="connsiteX123" fmla="*/ 323333 w 533723"/>
                  <a:gd name="connsiteY123" fmla="*/ 310656 h 415347"/>
                  <a:gd name="connsiteX124" fmla="*/ 320679 w 533723"/>
                  <a:gd name="connsiteY124" fmla="*/ 310837 h 415347"/>
                  <a:gd name="connsiteX125" fmla="*/ 316984 w 533723"/>
                  <a:gd name="connsiteY125" fmla="*/ 309959 h 415347"/>
                  <a:gd name="connsiteX126" fmla="*/ 278469 w 533723"/>
                  <a:gd name="connsiteY126" fmla="*/ 281787 h 415347"/>
                  <a:gd name="connsiteX127" fmla="*/ 279196 w 533723"/>
                  <a:gd name="connsiteY127" fmla="*/ 221148 h 415347"/>
                  <a:gd name="connsiteX128" fmla="*/ 281137 w 533723"/>
                  <a:gd name="connsiteY128" fmla="*/ 212759 h 415347"/>
                  <a:gd name="connsiteX129" fmla="*/ 280817 w 533723"/>
                  <a:gd name="connsiteY129" fmla="*/ 212855 h 415347"/>
                  <a:gd name="connsiteX130" fmla="*/ 280074 w 533723"/>
                  <a:gd name="connsiteY130" fmla="*/ 213019 h 415347"/>
                  <a:gd name="connsiteX131" fmla="*/ 208386 w 533723"/>
                  <a:gd name="connsiteY131" fmla="*/ 230868 h 415347"/>
                  <a:gd name="connsiteX132" fmla="*/ 129358 w 533723"/>
                  <a:gd name="connsiteY132" fmla="*/ 256155 h 415347"/>
                  <a:gd name="connsiteX133" fmla="*/ 76481 w 533723"/>
                  <a:gd name="connsiteY133" fmla="*/ 253856 h 415347"/>
                  <a:gd name="connsiteX134" fmla="*/ 56365 w 533723"/>
                  <a:gd name="connsiteY134" fmla="*/ 204718 h 415347"/>
                  <a:gd name="connsiteX135" fmla="*/ 6361 w 533723"/>
                  <a:gd name="connsiteY135" fmla="*/ 145234 h 415347"/>
                  <a:gd name="connsiteX136" fmla="*/ 4924 w 533723"/>
                  <a:gd name="connsiteY136" fmla="*/ 90923 h 415347"/>
                  <a:gd name="connsiteX137" fmla="*/ 26190 w 533723"/>
                  <a:gd name="connsiteY137" fmla="*/ 62762 h 415347"/>
                  <a:gd name="connsiteX138" fmla="*/ 51192 w 533723"/>
                  <a:gd name="connsiteY138" fmla="*/ 63624 h 415347"/>
                  <a:gd name="connsiteX139" fmla="*/ 92574 w 533723"/>
                  <a:gd name="connsiteY139" fmla="*/ 72245 h 415347"/>
                  <a:gd name="connsiteX140" fmla="*/ 148899 w 533723"/>
                  <a:gd name="connsiteY140" fmla="*/ 97533 h 415347"/>
                  <a:gd name="connsiteX141" fmla="*/ 100620 w 533723"/>
                  <a:gd name="connsiteY141" fmla="*/ 70233 h 415347"/>
                  <a:gd name="connsiteX142" fmla="*/ 68722 w 533723"/>
                  <a:gd name="connsiteY142" fmla="*/ 57877 h 415347"/>
                  <a:gd name="connsiteX143" fmla="*/ 95735 w 533723"/>
                  <a:gd name="connsiteY143" fmla="*/ 33739 h 415347"/>
                  <a:gd name="connsiteX144" fmla="*/ 118438 w 533723"/>
                  <a:gd name="connsiteY144" fmla="*/ 6440 h 415347"/>
                  <a:gd name="connsiteX145" fmla="*/ 135290 w 533723"/>
                  <a:gd name="connsiteY145" fmla="*/ 95 h 415347"/>
                  <a:gd name="connsiteX0" fmla="*/ 528506 w 533723"/>
                  <a:gd name="connsiteY0" fmla="*/ 291832 h 415322"/>
                  <a:gd name="connsiteX1" fmla="*/ 510121 w 533723"/>
                  <a:gd name="connsiteY1" fmla="*/ 300446 h 415322"/>
                  <a:gd name="connsiteX2" fmla="*/ 500354 w 533723"/>
                  <a:gd name="connsiteY2" fmla="*/ 302312 h 415322"/>
                  <a:gd name="connsiteX3" fmla="*/ 489695 w 533723"/>
                  <a:gd name="connsiteY3" fmla="*/ 299159 h 415322"/>
                  <a:gd name="connsiteX4" fmla="*/ 490953 w 533723"/>
                  <a:gd name="connsiteY4" fmla="*/ 302242 h 415322"/>
                  <a:gd name="connsiteX5" fmla="*/ 490826 w 533723"/>
                  <a:gd name="connsiteY5" fmla="*/ 302554 h 415322"/>
                  <a:gd name="connsiteX6" fmla="*/ 497481 w 533723"/>
                  <a:gd name="connsiteY6" fmla="*/ 306188 h 415322"/>
                  <a:gd name="connsiteX7" fmla="*/ 505812 w 533723"/>
                  <a:gd name="connsiteY7" fmla="*/ 305901 h 415322"/>
                  <a:gd name="connsiteX8" fmla="*/ 523335 w 533723"/>
                  <a:gd name="connsiteY8" fmla="*/ 297575 h 415322"/>
                  <a:gd name="connsiteX9" fmla="*/ 528506 w 533723"/>
                  <a:gd name="connsiteY9" fmla="*/ 291832 h 415322"/>
                  <a:gd name="connsiteX10" fmla="*/ 459095 w 533723"/>
                  <a:gd name="connsiteY10" fmla="*/ 214354 h 415322"/>
                  <a:gd name="connsiteX11" fmla="*/ 470185 w 533723"/>
                  <a:gd name="connsiteY11" fmla="*/ 232917 h 415322"/>
                  <a:gd name="connsiteX12" fmla="*/ 469083 w 533723"/>
                  <a:gd name="connsiteY12" fmla="*/ 236710 h 415322"/>
                  <a:gd name="connsiteX13" fmla="*/ 465107 w 533723"/>
                  <a:gd name="connsiteY13" fmla="*/ 228628 h 415322"/>
                  <a:gd name="connsiteX14" fmla="*/ 462850 w 533723"/>
                  <a:gd name="connsiteY14" fmla="*/ 223907 h 415322"/>
                  <a:gd name="connsiteX15" fmla="*/ 461361 w 533723"/>
                  <a:gd name="connsiteY15" fmla="*/ 220754 h 415322"/>
                  <a:gd name="connsiteX16" fmla="*/ 459095 w 533723"/>
                  <a:gd name="connsiteY16" fmla="*/ 214354 h 415322"/>
                  <a:gd name="connsiteX17" fmla="*/ 458921 w 533723"/>
                  <a:gd name="connsiteY17" fmla="*/ 213862 h 415322"/>
                  <a:gd name="connsiteX18" fmla="*/ 459095 w 533723"/>
                  <a:gd name="connsiteY18" fmla="*/ 214354 h 415322"/>
                  <a:gd name="connsiteX19" fmla="*/ 458953 w 533723"/>
                  <a:gd name="connsiteY19" fmla="*/ 214116 h 415322"/>
                  <a:gd name="connsiteX20" fmla="*/ 458921 w 533723"/>
                  <a:gd name="connsiteY20" fmla="*/ 213862 h 415322"/>
                  <a:gd name="connsiteX21" fmla="*/ 231642 w 533723"/>
                  <a:gd name="connsiteY21" fmla="*/ 117869 h 415322"/>
                  <a:gd name="connsiteX22" fmla="*/ 245739 w 533723"/>
                  <a:gd name="connsiteY22" fmla="*/ 119960 h 415322"/>
                  <a:gd name="connsiteX23" fmla="*/ 247479 w 533723"/>
                  <a:gd name="connsiteY23" fmla="*/ 117948 h 415322"/>
                  <a:gd name="connsiteX24" fmla="*/ 241439 w 533723"/>
                  <a:gd name="connsiteY24" fmla="*/ 117896 h 415322"/>
                  <a:gd name="connsiteX25" fmla="*/ 231642 w 533723"/>
                  <a:gd name="connsiteY25" fmla="*/ 117869 h 415322"/>
                  <a:gd name="connsiteX26" fmla="*/ 393966 w 533723"/>
                  <a:gd name="connsiteY26" fmla="*/ 59548 h 415322"/>
                  <a:gd name="connsiteX27" fmla="*/ 394760 w 533723"/>
                  <a:gd name="connsiteY27" fmla="*/ 61641 h 415322"/>
                  <a:gd name="connsiteX28" fmla="*/ 396543 w 533723"/>
                  <a:gd name="connsiteY28" fmla="*/ 61922 h 415322"/>
                  <a:gd name="connsiteX29" fmla="*/ 393966 w 533723"/>
                  <a:gd name="connsiteY29" fmla="*/ 59548 h 415322"/>
                  <a:gd name="connsiteX30" fmla="*/ 135290 w 533723"/>
                  <a:gd name="connsiteY30" fmla="*/ 95 h 415322"/>
                  <a:gd name="connsiteX31" fmla="*/ 142002 w 533723"/>
                  <a:gd name="connsiteY31" fmla="*/ 118 h 415322"/>
                  <a:gd name="connsiteX32" fmla="*/ 184247 w 533723"/>
                  <a:gd name="connsiteY32" fmla="*/ 9888 h 415322"/>
                  <a:gd name="connsiteX33" fmla="*/ 237411 w 533723"/>
                  <a:gd name="connsiteY33" fmla="*/ 31727 h 415322"/>
                  <a:gd name="connsiteX34" fmla="*/ 273908 w 533723"/>
                  <a:gd name="connsiteY34" fmla="*/ 50693 h 415322"/>
                  <a:gd name="connsiteX35" fmla="*/ 300993 w 533723"/>
                  <a:gd name="connsiteY35" fmla="*/ 65241 h 415322"/>
                  <a:gd name="connsiteX36" fmla="*/ 313770 w 533723"/>
                  <a:gd name="connsiteY36" fmla="*/ 72415 h 415322"/>
                  <a:gd name="connsiteX37" fmla="*/ 317458 w 533723"/>
                  <a:gd name="connsiteY37" fmla="*/ 74704 h 415322"/>
                  <a:gd name="connsiteX38" fmla="*/ 321989 w 533723"/>
                  <a:gd name="connsiteY38" fmla="*/ 77518 h 415322"/>
                  <a:gd name="connsiteX39" fmla="*/ 328509 w 533723"/>
                  <a:gd name="connsiteY39" fmla="*/ 81728 h 415322"/>
                  <a:gd name="connsiteX40" fmla="*/ 329950 w 533723"/>
                  <a:gd name="connsiteY40" fmla="*/ 82770 h 415322"/>
                  <a:gd name="connsiteX41" fmla="*/ 322786 w 533723"/>
                  <a:gd name="connsiteY41" fmla="*/ 67357 h 415322"/>
                  <a:gd name="connsiteX42" fmla="*/ 318179 w 533723"/>
                  <a:gd name="connsiteY42" fmla="*/ 66024 h 415322"/>
                  <a:gd name="connsiteX43" fmla="*/ 315145 w 533723"/>
                  <a:gd name="connsiteY43" fmla="*/ 65146 h 415322"/>
                  <a:gd name="connsiteX44" fmla="*/ 315984 w 533723"/>
                  <a:gd name="connsiteY44" fmla="*/ 64282 h 415322"/>
                  <a:gd name="connsiteX45" fmla="*/ 336115 w 533723"/>
                  <a:gd name="connsiteY45" fmla="*/ 45493 h 415322"/>
                  <a:gd name="connsiteX46" fmla="*/ 339135 w 533723"/>
                  <a:gd name="connsiteY46" fmla="*/ 43303 h 415322"/>
                  <a:gd name="connsiteX47" fmla="*/ 344556 w 533723"/>
                  <a:gd name="connsiteY47" fmla="*/ 40552 h 415322"/>
                  <a:gd name="connsiteX48" fmla="*/ 348957 w 533723"/>
                  <a:gd name="connsiteY48" fmla="*/ 38760 h 415322"/>
                  <a:gd name="connsiteX49" fmla="*/ 368054 w 533723"/>
                  <a:gd name="connsiteY49" fmla="*/ 34807 h 415322"/>
                  <a:gd name="connsiteX50" fmla="*/ 382234 w 533723"/>
                  <a:gd name="connsiteY50" fmla="*/ 37952 h 415322"/>
                  <a:gd name="connsiteX51" fmla="*/ 390275 w 533723"/>
                  <a:gd name="connsiteY51" fmla="*/ 35652 h 415322"/>
                  <a:gd name="connsiteX52" fmla="*/ 390840 w 533723"/>
                  <a:gd name="connsiteY52" fmla="*/ 35749 h 415322"/>
                  <a:gd name="connsiteX53" fmla="*/ 391575 w 533723"/>
                  <a:gd name="connsiteY53" fmla="*/ 35894 h 415322"/>
                  <a:gd name="connsiteX54" fmla="*/ 391750 w 533723"/>
                  <a:gd name="connsiteY54" fmla="*/ 35955 h 415322"/>
                  <a:gd name="connsiteX55" fmla="*/ 392615 w 533723"/>
                  <a:gd name="connsiteY55" fmla="*/ 36327 h 415322"/>
                  <a:gd name="connsiteX56" fmla="*/ 393242 w 533723"/>
                  <a:gd name="connsiteY56" fmla="*/ 36306 h 415322"/>
                  <a:gd name="connsiteX57" fmla="*/ 393406 w 533723"/>
                  <a:gd name="connsiteY57" fmla="*/ 36317 h 415322"/>
                  <a:gd name="connsiteX58" fmla="*/ 397383 w 533723"/>
                  <a:gd name="connsiteY58" fmla="*/ 37341 h 415322"/>
                  <a:gd name="connsiteX59" fmla="*/ 408367 w 533723"/>
                  <a:gd name="connsiteY59" fmla="*/ 43126 h 415322"/>
                  <a:gd name="connsiteX60" fmla="*/ 459773 w 533723"/>
                  <a:gd name="connsiteY60" fmla="*/ 126491 h 415322"/>
                  <a:gd name="connsiteX61" fmla="*/ 441680 w 533723"/>
                  <a:gd name="connsiteY61" fmla="*/ 188008 h 415322"/>
                  <a:gd name="connsiteX62" fmla="*/ 442553 w 533723"/>
                  <a:gd name="connsiteY62" fmla="*/ 192637 h 415322"/>
                  <a:gd name="connsiteX63" fmla="*/ 443081 w 533723"/>
                  <a:gd name="connsiteY63" fmla="*/ 194875 h 415322"/>
                  <a:gd name="connsiteX64" fmla="*/ 451172 w 533723"/>
                  <a:gd name="connsiteY64" fmla="*/ 201092 h 415322"/>
                  <a:gd name="connsiteX65" fmla="*/ 458953 w 533723"/>
                  <a:gd name="connsiteY65" fmla="*/ 214116 h 415322"/>
                  <a:gd name="connsiteX66" fmla="*/ 459209 w 533723"/>
                  <a:gd name="connsiteY66" fmla="*/ 216161 h 415322"/>
                  <a:gd name="connsiteX67" fmla="*/ 460971 w 533723"/>
                  <a:gd name="connsiteY67" fmla="*/ 219929 h 415322"/>
                  <a:gd name="connsiteX68" fmla="*/ 461361 w 533723"/>
                  <a:gd name="connsiteY68" fmla="*/ 220754 h 415322"/>
                  <a:gd name="connsiteX69" fmla="*/ 470303 w 533723"/>
                  <a:gd name="connsiteY69" fmla="*/ 246015 h 415322"/>
                  <a:gd name="connsiteX70" fmla="*/ 469962 w 533723"/>
                  <a:gd name="connsiteY70" fmla="*/ 245448 h 415322"/>
                  <a:gd name="connsiteX71" fmla="*/ 468971 w 533723"/>
                  <a:gd name="connsiteY71" fmla="*/ 243799 h 415322"/>
                  <a:gd name="connsiteX72" fmla="*/ 464115 w 533723"/>
                  <a:gd name="connsiteY72" fmla="*/ 240660 h 415322"/>
                  <a:gd name="connsiteX73" fmla="*/ 457544 w 533723"/>
                  <a:gd name="connsiteY73" fmla="*/ 239804 h 415322"/>
                  <a:gd name="connsiteX74" fmla="*/ 463829 w 533723"/>
                  <a:gd name="connsiteY74" fmla="*/ 242086 h 415322"/>
                  <a:gd name="connsiteX75" fmla="*/ 469895 w 533723"/>
                  <a:gd name="connsiteY75" fmla="*/ 245979 h 415322"/>
                  <a:gd name="connsiteX76" fmla="*/ 470460 w 533723"/>
                  <a:gd name="connsiteY76" fmla="*/ 246460 h 415322"/>
                  <a:gd name="connsiteX77" fmla="*/ 485321 w 533723"/>
                  <a:gd name="connsiteY77" fmla="*/ 288443 h 415322"/>
                  <a:gd name="connsiteX78" fmla="*/ 485666 w 533723"/>
                  <a:gd name="connsiteY78" fmla="*/ 289289 h 415322"/>
                  <a:gd name="connsiteX79" fmla="*/ 485392 w 533723"/>
                  <a:gd name="connsiteY79" fmla="*/ 285754 h 415322"/>
                  <a:gd name="connsiteX80" fmla="*/ 485409 w 533723"/>
                  <a:gd name="connsiteY80" fmla="*/ 284254 h 415322"/>
                  <a:gd name="connsiteX81" fmla="*/ 485552 w 533723"/>
                  <a:gd name="connsiteY81" fmla="*/ 284634 h 415322"/>
                  <a:gd name="connsiteX82" fmla="*/ 487684 w 533723"/>
                  <a:gd name="connsiteY82" fmla="*/ 290297 h 415322"/>
                  <a:gd name="connsiteX83" fmla="*/ 487716 w 533723"/>
                  <a:gd name="connsiteY83" fmla="*/ 290381 h 415322"/>
                  <a:gd name="connsiteX84" fmla="*/ 487709 w 533723"/>
                  <a:gd name="connsiteY84" fmla="*/ 290382 h 415322"/>
                  <a:gd name="connsiteX85" fmla="*/ 486150 w 533723"/>
                  <a:gd name="connsiteY85" fmla="*/ 290474 h 415322"/>
                  <a:gd name="connsiteX86" fmla="*/ 488742 w 533723"/>
                  <a:gd name="connsiteY86" fmla="*/ 296824 h 415322"/>
                  <a:gd name="connsiteX87" fmla="*/ 494320 w 533723"/>
                  <a:gd name="connsiteY87" fmla="*/ 295556 h 415322"/>
                  <a:gd name="connsiteX88" fmla="*/ 512429 w 533723"/>
                  <a:gd name="connsiteY88" fmla="*/ 291820 h 415322"/>
                  <a:gd name="connsiteX89" fmla="*/ 519005 w 533723"/>
                  <a:gd name="connsiteY89" fmla="*/ 287509 h 415322"/>
                  <a:gd name="connsiteX90" fmla="*/ 520508 w 533723"/>
                  <a:gd name="connsiteY90" fmla="*/ 286839 h 415322"/>
                  <a:gd name="connsiteX91" fmla="*/ 522424 w 533723"/>
                  <a:gd name="connsiteY91" fmla="*/ 286502 h 415322"/>
                  <a:gd name="connsiteX92" fmla="*/ 523091 w 533723"/>
                  <a:gd name="connsiteY92" fmla="*/ 286385 h 415322"/>
                  <a:gd name="connsiteX93" fmla="*/ 525364 w 533723"/>
                  <a:gd name="connsiteY93" fmla="*/ 286646 h 415322"/>
                  <a:gd name="connsiteX94" fmla="*/ 533413 w 533723"/>
                  <a:gd name="connsiteY94" fmla="*/ 297855 h 415322"/>
                  <a:gd name="connsiteX95" fmla="*/ 530826 w 533723"/>
                  <a:gd name="connsiteY95" fmla="*/ 316249 h 415322"/>
                  <a:gd name="connsiteX96" fmla="*/ 530588 w 533723"/>
                  <a:gd name="connsiteY96" fmla="*/ 318085 h 415322"/>
                  <a:gd name="connsiteX97" fmla="*/ 530192 w 533723"/>
                  <a:gd name="connsiteY97" fmla="*/ 320320 h 415322"/>
                  <a:gd name="connsiteX98" fmla="*/ 529838 w 533723"/>
                  <a:gd name="connsiteY98" fmla="*/ 321637 h 415322"/>
                  <a:gd name="connsiteX99" fmla="*/ 526883 w 533723"/>
                  <a:gd name="connsiteY99" fmla="*/ 332653 h 415322"/>
                  <a:gd name="connsiteX100" fmla="*/ 524435 w 533723"/>
                  <a:gd name="connsiteY100" fmla="*/ 341781 h 415322"/>
                  <a:gd name="connsiteX101" fmla="*/ 519934 w 533723"/>
                  <a:gd name="connsiteY101" fmla="*/ 353045 h 415322"/>
                  <a:gd name="connsiteX102" fmla="*/ 493458 w 533723"/>
                  <a:gd name="connsiteY102" fmla="*/ 392987 h 415322"/>
                  <a:gd name="connsiteX103" fmla="*/ 421143 w 533723"/>
                  <a:gd name="connsiteY103" fmla="*/ 403455 h 415322"/>
                  <a:gd name="connsiteX104" fmla="*/ 416615 w 533723"/>
                  <a:gd name="connsiteY104" fmla="*/ 401105 h 415322"/>
                  <a:gd name="connsiteX105" fmla="*/ 403771 w 533723"/>
                  <a:gd name="connsiteY105" fmla="*/ 393322 h 415322"/>
                  <a:gd name="connsiteX106" fmla="*/ 381629 w 533723"/>
                  <a:gd name="connsiteY106" fmla="*/ 410745 h 415322"/>
                  <a:gd name="connsiteX107" fmla="*/ 364512 w 533723"/>
                  <a:gd name="connsiteY107" fmla="*/ 414388 h 415322"/>
                  <a:gd name="connsiteX108" fmla="*/ 362260 w 533723"/>
                  <a:gd name="connsiteY108" fmla="*/ 412847 h 415322"/>
                  <a:gd name="connsiteX109" fmla="*/ 359508 w 533723"/>
                  <a:gd name="connsiteY109" fmla="*/ 412530 h 415322"/>
                  <a:gd name="connsiteX110" fmla="*/ 354180 w 533723"/>
                  <a:gd name="connsiteY110" fmla="*/ 409493 h 415322"/>
                  <a:gd name="connsiteX111" fmla="*/ 351263 w 533723"/>
                  <a:gd name="connsiteY111" fmla="*/ 406931 h 415322"/>
                  <a:gd name="connsiteX112" fmla="*/ 351015 w 533723"/>
                  <a:gd name="connsiteY112" fmla="*/ 406713 h 415322"/>
                  <a:gd name="connsiteX113" fmla="*/ 348397 w 533723"/>
                  <a:gd name="connsiteY113" fmla="*/ 403432 h 415322"/>
                  <a:gd name="connsiteX114" fmla="*/ 347445 w 533723"/>
                  <a:gd name="connsiteY114" fmla="*/ 401927 h 415322"/>
                  <a:gd name="connsiteX115" fmla="*/ 345319 w 533723"/>
                  <a:gd name="connsiteY115" fmla="*/ 397536 h 415322"/>
                  <a:gd name="connsiteX116" fmla="*/ 344561 w 533723"/>
                  <a:gd name="connsiteY116" fmla="*/ 395286 h 415322"/>
                  <a:gd name="connsiteX117" fmla="*/ 335650 w 533723"/>
                  <a:gd name="connsiteY117" fmla="*/ 375455 h 415322"/>
                  <a:gd name="connsiteX118" fmla="*/ 322714 w 533723"/>
                  <a:gd name="connsiteY118" fmla="*/ 362234 h 415322"/>
                  <a:gd name="connsiteX119" fmla="*/ 319648 w 533723"/>
                  <a:gd name="connsiteY119" fmla="*/ 358159 h 415322"/>
                  <a:gd name="connsiteX120" fmla="*/ 319434 w 533723"/>
                  <a:gd name="connsiteY120" fmla="*/ 357823 h 415322"/>
                  <a:gd name="connsiteX121" fmla="*/ 314734 w 533723"/>
                  <a:gd name="connsiteY121" fmla="*/ 350455 h 415322"/>
                  <a:gd name="connsiteX122" fmla="*/ 319052 w 533723"/>
                  <a:gd name="connsiteY122" fmla="*/ 316733 h 415322"/>
                  <a:gd name="connsiteX123" fmla="*/ 323333 w 533723"/>
                  <a:gd name="connsiteY123" fmla="*/ 310656 h 415322"/>
                  <a:gd name="connsiteX124" fmla="*/ 320679 w 533723"/>
                  <a:gd name="connsiteY124" fmla="*/ 310837 h 415322"/>
                  <a:gd name="connsiteX125" fmla="*/ 316984 w 533723"/>
                  <a:gd name="connsiteY125" fmla="*/ 309959 h 415322"/>
                  <a:gd name="connsiteX126" fmla="*/ 278469 w 533723"/>
                  <a:gd name="connsiteY126" fmla="*/ 281787 h 415322"/>
                  <a:gd name="connsiteX127" fmla="*/ 279196 w 533723"/>
                  <a:gd name="connsiteY127" fmla="*/ 221148 h 415322"/>
                  <a:gd name="connsiteX128" fmla="*/ 281137 w 533723"/>
                  <a:gd name="connsiteY128" fmla="*/ 212759 h 415322"/>
                  <a:gd name="connsiteX129" fmla="*/ 280817 w 533723"/>
                  <a:gd name="connsiteY129" fmla="*/ 212855 h 415322"/>
                  <a:gd name="connsiteX130" fmla="*/ 280074 w 533723"/>
                  <a:gd name="connsiteY130" fmla="*/ 213019 h 415322"/>
                  <a:gd name="connsiteX131" fmla="*/ 208386 w 533723"/>
                  <a:gd name="connsiteY131" fmla="*/ 230868 h 415322"/>
                  <a:gd name="connsiteX132" fmla="*/ 129358 w 533723"/>
                  <a:gd name="connsiteY132" fmla="*/ 256155 h 415322"/>
                  <a:gd name="connsiteX133" fmla="*/ 76481 w 533723"/>
                  <a:gd name="connsiteY133" fmla="*/ 253856 h 415322"/>
                  <a:gd name="connsiteX134" fmla="*/ 56365 w 533723"/>
                  <a:gd name="connsiteY134" fmla="*/ 204718 h 415322"/>
                  <a:gd name="connsiteX135" fmla="*/ 6361 w 533723"/>
                  <a:gd name="connsiteY135" fmla="*/ 145234 h 415322"/>
                  <a:gd name="connsiteX136" fmla="*/ 4924 w 533723"/>
                  <a:gd name="connsiteY136" fmla="*/ 90923 h 415322"/>
                  <a:gd name="connsiteX137" fmla="*/ 26190 w 533723"/>
                  <a:gd name="connsiteY137" fmla="*/ 62762 h 415322"/>
                  <a:gd name="connsiteX138" fmla="*/ 51192 w 533723"/>
                  <a:gd name="connsiteY138" fmla="*/ 63624 h 415322"/>
                  <a:gd name="connsiteX139" fmla="*/ 92574 w 533723"/>
                  <a:gd name="connsiteY139" fmla="*/ 72245 h 415322"/>
                  <a:gd name="connsiteX140" fmla="*/ 148899 w 533723"/>
                  <a:gd name="connsiteY140" fmla="*/ 97533 h 415322"/>
                  <a:gd name="connsiteX141" fmla="*/ 100620 w 533723"/>
                  <a:gd name="connsiteY141" fmla="*/ 70233 h 415322"/>
                  <a:gd name="connsiteX142" fmla="*/ 68722 w 533723"/>
                  <a:gd name="connsiteY142" fmla="*/ 57877 h 415322"/>
                  <a:gd name="connsiteX143" fmla="*/ 95735 w 533723"/>
                  <a:gd name="connsiteY143" fmla="*/ 33739 h 415322"/>
                  <a:gd name="connsiteX144" fmla="*/ 118438 w 533723"/>
                  <a:gd name="connsiteY144" fmla="*/ 6440 h 415322"/>
                  <a:gd name="connsiteX145" fmla="*/ 135290 w 533723"/>
                  <a:gd name="connsiteY145" fmla="*/ 95 h 41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533723" h="415322">
                    <a:moveTo>
                      <a:pt x="528506" y="291832"/>
                    </a:moveTo>
                    <a:cubicBezTo>
                      <a:pt x="528506" y="291832"/>
                      <a:pt x="516154" y="299584"/>
                      <a:pt x="510121" y="300446"/>
                    </a:cubicBezTo>
                    <a:cubicBezTo>
                      <a:pt x="507105" y="300877"/>
                      <a:pt x="504089" y="302097"/>
                      <a:pt x="500354" y="302312"/>
                    </a:cubicBezTo>
                    <a:lnTo>
                      <a:pt x="489695" y="299159"/>
                    </a:lnTo>
                    <a:lnTo>
                      <a:pt x="490953" y="302242"/>
                    </a:lnTo>
                    <a:cubicBezTo>
                      <a:pt x="490911" y="302346"/>
                      <a:pt x="490868" y="302450"/>
                      <a:pt x="490826" y="302554"/>
                    </a:cubicBezTo>
                    <a:lnTo>
                      <a:pt x="497481" y="306188"/>
                    </a:lnTo>
                    <a:cubicBezTo>
                      <a:pt x="502940" y="306475"/>
                      <a:pt x="505812" y="305901"/>
                      <a:pt x="505812" y="305901"/>
                    </a:cubicBezTo>
                    <a:cubicBezTo>
                      <a:pt x="517015" y="304465"/>
                      <a:pt x="521899" y="299010"/>
                      <a:pt x="523335" y="297575"/>
                    </a:cubicBezTo>
                    <a:cubicBezTo>
                      <a:pt x="525059" y="296426"/>
                      <a:pt x="528506" y="291832"/>
                      <a:pt x="528506" y="291832"/>
                    </a:cubicBezTo>
                    <a:close/>
                    <a:moveTo>
                      <a:pt x="459095" y="214354"/>
                    </a:moveTo>
                    <a:lnTo>
                      <a:pt x="470185" y="232917"/>
                    </a:lnTo>
                    <a:lnTo>
                      <a:pt x="469083" y="236710"/>
                    </a:lnTo>
                    <a:lnTo>
                      <a:pt x="465107" y="228628"/>
                    </a:lnTo>
                    <a:cubicBezTo>
                      <a:pt x="464316" y="226985"/>
                      <a:pt x="463551" y="225384"/>
                      <a:pt x="462850" y="223907"/>
                    </a:cubicBezTo>
                    <a:lnTo>
                      <a:pt x="461361" y="220754"/>
                    </a:lnTo>
                    <a:lnTo>
                      <a:pt x="459095" y="214354"/>
                    </a:lnTo>
                    <a:close/>
                    <a:moveTo>
                      <a:pt x="458921" y="213862"/>
                    </a:moveTo>
                    <a:lnTo>
                      <a:pt x="459095" y="214354"/>
                    </a:lnTo>
                    <a:lnTo>
                      <a:pt x="458953" y="214116"/>
                    </a:lnTo>
                    <a:cubicBezTo>
                      <a:pt x="458942" y="214031"/>
                      <a:pt x="458932" y="213947"/>
                      <a:pt x="458921" y="213862"/>
                    </a:cubicBezTo>
                    <a:close/>
                    <a:moveTo>
                      <a:pt x="231642" y="117869"/>
                    </a:moveTo>
                    <a:lnTo>
                      <a:pt x="245739" y="119960"/>
                    </a:lnTo>
                    <a:lnTo>
                      <a:pt x="247479" y="117948"/>
                    </a:lnTo>
                    <a:lnTo>
                      <a:pt x="241439" y="117896"/>
                    </a:lnTo>
                    <a:lnTo>
                      <a:pt x="231642" y="117869"/>
                    </a:lnTo>
                    <a:close/>
                    <a:moveTo>
                      <a:pt x="393966" y="59548"/>
                    </a:moveTo>
                    <a:lnTo>
                      <a:pt x="394760" y="61641"/>
                    </a:lnTo>
                    <a:lnTo>
                      <a:pt x="396543" y="61922"/>
                    </a:lnTo>
                    <a:lnTo>
                      <a:pt x="393966" y="59548"/>
                    </a:lnTo>
                    <a:close/>
                    <a:moveTo>
                      <a:pt x="135290" y="95"/>
                    </a:moveTo>
                    <a:cubicBezTo>
                      <a:pt x="137297" y="-44"/>
                      <a:pt x="139488" y="-26"/>
                      <a:pt x="142002" y="118"/>
                    </a:cubicBezTo>
                    <a:cubicBezTo>
                      <a:pt x="151773" y="692"/>
                      <a:pt x="171890" y="5290"/>
                      <a:pt x="184247" y="9888"/>
                    </a:cubicBezTo>
                    <a:cubicBezTo>
                      <a:pt x="196604" y="14198"/>
                      <a:pt x="225916" y="24831"/>
                      <a:pt x="237411" y="31727"/>
                    </a:cubicBezTo>
                    <a:cubicBezTo>
                      <a:pt x="250056" y="38911"/>
                      <a:pt x="261551" y="43509"/>
                      <a:pt x="273908" y="50693"/>
                    </a:cubicBezTo>
                    <a:cubicBezTo>
                      <a:pt x="280230" y="54285"/>
                      <a:pt x="290576" y="59601"/>
                      <a:pt x="300993" y="65241"/>
                    </a:cubicBezTo>
                    <a:lnTo>
                      <a:pt x="313770" y="72415"/>
                    </a:lnTo>
                    <a:lnTo>
                      <a:pt x="317458" y="74704"/>
                    </a:lnTo>
                    <a:lnTo>
                      <a:pt x="321989" y="77518"/>
                    </a:lnTo>
                    <a:lnTo>
                      <a:pt x="328509" y="81728"/>
                    </a:lnTo>
                    <a:lnTo>
                      <a:pt x="329950" y="82770"/>
                    </a:lnTo>
                    <a:lnTo>
                      <a:pt x="322786" y="67357"/>
                    </a:lnTo>
                    <a:lnTo>
                      <a:pt x="318179" y="66024"/>
                    </a:lnTo>
                    <a:lnTo>
                      <a:pt x="315145" y="65146"/>
                    </a:lnTo>
                    <a:lnTo>
                      <a:pt x="315984" y="64282"/>
                    </a:lnTo>
                    <a:cubicBezTo>
                      <a:pt x="319030" y="61163"/>
                      <a:pt x="328778" y="51321"/>
                      <a:pt x="336115" y="45493"/>
                    </a:cubicBezTo>
                    <a:lnTo>
                      <a:pt x="339135" y="43303"/>
                    </a:lnTo>
                    <a:lnTo>
                      <a:pt x="344556" y="40552"/>
                    </a:lnTo>
                    <a:lnTo>
                      <a:pt x="348957" y="38760"/>
                    </a:lnTo>
                    <a:cubicBezTo>
                      <a:pt x="353552" y="36748"/>
                      <a:pt x="359726" y="34376"/>
                      <a:pt x="368054" y="34807"/>
                    </a:cubicBezTo>
                    <a:cubicBezTo>
                      <a:pt x="372219" y="35023"/>
                      <a:pt x="376921" y="35939"/>
                      <a:pt x="382234" y="37952"/>
                    </a:cubicBezTo>
                    <a:cubicBezTo>
                      <a:pt x="403198" y="46001"/>
                      <a:pt x="390275" y="35652"/>
                      <a:pt x="390275" y="35652"/>
                    </a:cubicBezTo>
                    <a:cubicBezTo>
                      <a:pt x="390275" y="35652"/>
                      <a:pt x="390477" y="35683"/>
                      <a:pt x="390840" y="35749"/>
                    </a:cubicBezTo>
                    <a:lnTo>
                      <a:pt x="391575" y="35894"/>
                    </a:lnTo>
                    <a:lnTo>
                      <a:pt x="391750" y="35955"/>
                    </a:lnTo>
                    <a:cubicBezTo>
                      <a:pt x="392319" y="36184"/>
                      <a:pt x="392615" y="36327"/>
                      <a:pt x="392615" y="36327"/>
                    </a:cubicBezTo>
                    <a:cubicBezTo>
                      <a:pt x="392615" y="36327"/>
                      <a:pt x="392831" y="36305"/>
                      <a:pt x="393242" y="36306"/>
                    </a:cubicBezTo>
                    <a:lnTo>
                      <a:pt x="393406" y="36317"/>
                    </a:lnTo>
                    <a:lnTo>
                      <a:pt x="397383" y="37341"/>
                    </a:lnTo>
                    <a:cubicBezTo>
                      <a:pt x="401260" y="38527"/>
                      <a:pt x="405783" y="40395"/>
                      <a:pt x="408367" y="43126"/>
                    </a:cubicBezTo>
                    <a:cubicBezTo>
                      <a:pt x="413537" y="48875"/>
                      <a:pt x="463219" y="96019"/>
                      <a:pt x="459773" y="126491"/>
                    </a:cubicBezTo>
                    <a:cubicBezTo>
                      <a:pt x="457762" y="144888"/>
                      <a:pt x="440819" y="179671"/>
                      <a:pt x="441680" y="188008"/>
                    </a:cubicBezTo>
                    <a:cubicBezTo>
                      <a:pt x="441860" y="189266"/>
                      <a:pt x="442165" y="190853"/>
                      <a:pt x="442553" y="192637"/>
                    </a:cubicBezTo>
                    <a:lnTo>
                      <a:pt x="443081" y="194875"/>
                    </a:lnTo>
                    <a:lnTo>
                      <a:pt x="451172" y="201092"/>
                    </a:lnTo>
                    <a:lnTo>
                      <a:pt x="458953" y="214116"/>
                    </a:lnTo>
                    <a:cubicBezTo>
                      <a:pt x="459038" y="214798"/>
                      <a:pt x="459124" y="215479"/>
                      <a:pt x="459209" y="216161"/>
                    </a:cubicBezTo>
                    <a:cubicBezTo>
                      <a:pt x="459209" y="216161"/>
                      <a:pt x="459892" y="217634"/>
                      <a:pt x="460971" y="219929"/>
                    </a:cubicBezTo>
                    <a:lnTo>
                      <a:pt x="461361" y="220754"/>
                    </a:lnTo>
                    <a:lnTo>
                      <a:pt x="470303" y="246015"/>
                    </a:lnTo>
                    <a:lnTo>
                      <a:pt x="469962" y="245448"/>
                    </a:lnTo>
                    <a:lnTo>
                      <a:pt x="468971" y="243799"/>
                    </a:lnTo>
                    <a:cubicBezTo>
                      <a:pt x="468971" y="243799"/>
                      <a:pt x="466400" y="241516"/>
                      <a:pt x="464115" y="240660"/>
                    </a:cubicBezTo>
                    <a:cubicBezTo>
                      <a:pt x="461829" y="239518"/>
                      <a:pt x="457544" y="239804"/>
                      <a:pt x="457544" y="239804"/>
                    </a:cubicBezTo>
                    <a:cubicBezTo>
                      <a:pt x="457544" y="239804"/>
                      <a:pt x="461829" y="241516"/>
                      <a:pt x="463829" y="242086"/>
                    </a:cubicBezTo>
                    <a:cubicBezTo>
                      <a:pt x="465329" y="242300"/>
                      <a:pt x="468435" y="244762"/>
                      <a:pt x="469895" y="245979"/>
                    </a:cubicBezTo>
                    <a:lnTo>
                      <a:pt x="470460" y="246460"/>
                    </a:lnTo>
                    <a:lnTo>
                      <a:pt x="485321" y="288443"/>
                    </a:lnTo>
                    <a:lnTo>
                      <a:pt x="485666" y="289289"/>
                    </a:lnTo>
                    <a:cubicBezTo>
                      <a:pt x="485575" y="288111"/>
                      <a:pt x="485483" y="286932"/>
                      <a:pt x="485392" y="285754"/>
                    </a:cubicBezTo>
                    <a:cubicBezTo>
                      <a:pt x="485398" y="285254"/>
                      <a:pt x="485403" y="284754"/>
                      <a:pt x="485409" y="284254"/>
                    </a:cubicBezTo>
                    <a:cubicBezTo>
                      <a:pt x="485457" y="284381"/>
                      <a:pt x="485504" y="284507"/>
                      <a:pt x="485552" y="284634"/>
                    </a:cubicBezTo>
                    <a:lnTo>
                      <a:pt x="487684" y="290297"/>
                    </a:lnTo>
                    <a:cubicBezTo>
                      <a:pt x="487695" y="290325"/>
                      <a:pt x="487705" y="290353"/>
                      <a:pt x="487716" y="290381"/>
                    </a:cubicBezTo>
                    <a:cubicBezTo>
                      <a:pt x="487714" y="290381"/>
                      <a:pt x="487711" y="290382"/>
                      <a:pt x="487709" y="290382"/>
                    </a:cubicBezTo>
                    <a:lnTo>
                      <a:pt x="486150" y="290474"/>
                    </a:lnTo>
                    <a:lnTo>
                      <a:pt x="488742" y="296824"/>
                    </a:lnTo>
                    <a:lnTo>
                      <a:pt x="494320" y="295556"/>
                    </a:lnTo>
                    <a:cubicBezTo>
                      <a:pt x="500644" y="296131"/>
                      <a:pt x="506393" y="294406"/>
                      <a:pt x="512429" y="291820"/>
                    </a:cubicBezTo>
                    <a:cubicBezTo>
                      <a:pt x="515304" y="290526"/>
                      <a:pt x="517172" y="288730"/>
                      <a:pt x="519005" y="287509"/>
                    </a:cubicBezTo>
                    <a:lnTo>
                      <a:pt x="520508" y="286839"/>
                    </a:lnTo>
                    <a:lnTo>
                      <a:pt x="522424" y="286502"/>
                    </a:lnTo>
                    <a:lnTo>
                      <a:pt x="523091" y="286385"/>
                    </a:lnTo>
                    <a:lnTo>
                      <a:pt x="525364" y="286646"/>
                    </a:lnTo>
                    <a:cubicBezTo>
                      <a:pt x="530826" y="288371"/>
                      <a:pt x="531976" y="291532"/>
                      <a:pt x="533413" y="297855"/>
                    </a:cubicBezTo>
                    <a:cubicBezTo>
                      <a:pt x="534850" y="304178"/>
                      <a:pt x="530826" y="316249"/>
                      <a:pt x="530826" y="316249"/>
                    </a:cubicBezTo>
                    <a:cubicBezTo>
                      <a:pt x="530826" y="316249"/>
                      <a:pt x="530763" y="316891"/>
                      <a:pt x="530588" y="318085"/>
                    </a:cubicBezTo>
                    <a:lnTo>
                      <a:pt x="530192" y="320320"/>
                    </a:lnTo>
                    <a:lnTo>
                      <a:pt x="529838" y="321637"/>
                    </a:lnTo>
                    <a:lnTo>
                      <a:pt x="526883" y="332653"/>
                    </a:lnTo>
                    <a:lnTo>
                      <a:pt x="524435" y="341781"/>
                    </a:lnTo>
                    <a:lnTo>
                      <a:pt x="519934" y="353045"/>
                    </a:lnTo>
                    <a:cubicBezTo>
                      <a:pt x="514343" y="365490"/>
                      <a:pt x="505962" y="379622"/>
                      <a:pt x="493458" y="392987"/>
                    </a:cubicBezTo>
                    <a:cubicBezTo>
                      <a:pt x="468666" y="419716"/>
                      <a:pt x="437567" y="410878"/>
                      <a:pt x="421143" y="403455"/>
                    </a:cubicBezTo>
                    <a:lnTo>
                      <a:pt x="416615" y="401105"/>
                    </a:lnTo>
                    <a:cubicBezTo>
                      <a:pt x="416179" y="402174"/>
                      <a:pt x="404207" y="392253"/>
                      <a:pt x="403771" y="393322"/>
                    </a:cubicBezTo>
                    <a:cubicBezTo>
                      <a:pt x="395387" y="401831"/>
                      <a:pt x="388172" y="407234"/>
                      <a:pt x="381629" y="410745"/>
                    </a:cubicBezTo>
                    <a:cubicBezTo>
                      <a:pt x="375086" y="414256"/>
                      <a:pt x="370055" y="416767"/>
                      <a:pt x="364512" y="414388"/>
                    </a:cubicBezTo>
                    <a:lnTo>
                      <a:pt x="362260" y="412847"/>
                    </a:lnTo>
                    <a:lnTo>
                      <a:pt x="359508" y="412530"/>
                    </a:lnTo>
                    <a:lnTo>
                      <a:pt x="354180" y="409493"/>
                    </a:lnTo>
                    <a:lnTo>
                      <a:pt x="351263" y="406931"/>
                    </a:lnTo>
                    <a:lnTo>
                      <a:pt x="351015" y="406713"/>
                    </a:lnTo>
                    <a:lnTo>
                      <a:pt x="348397" y="403432"/>
                    </a:lnTo>
                    <a:lnTo>
                      <a:pt x="347445" y="401927"/>
                    </a:lnTo>
                    <a:lnTo>
                      <a:pt x="345319" y="397536"/>
                    </a:lnTo>
                    <a:cubicBezTo>
                      <a:pt x="344794" y="396166"/>
                      <a:pt x="344561" y="395286"/>
                      <a:pt x="344561" y="395286"/>
                    </a:cubicBezTo>
                    <a:lnTo>
                      <a:pt x="335650" y="375455"/>
                    </a:lnTo>
                    <a:cubicBezTo>
                      <a:pt x="335650" y="375455"/>
                      <a:pt x="327314" y="367408"/>
                      <a:pt x="322714" y="362234"/>
                    </a:cubicBezTo>
                    <a:lnTo>
                      <a:pt x="319648" y="358159"/>
                    </a:lnTo>
                    <a:lnTo>
                      <a:pt x="319434" y="357823"/>
                    </a:lnTo>
                    <a:lnTo>
                      <a:pt x="314734" y="350455"/>
                    </a:lnTo>
                    <a:cubicBezTo>
                      <a:pt x="314734" y="350455"/>
                      <a:pt x="310334" y="332411"/>
                      <a:pt x="319052" y="316733"/>
                    </a:cubicBezTo>
                    <a:lnTo>
                      <a:pt x="323333" y="310656"/>
                    </a:lnTo>
                    <a:lnTo>
                      <a:pt x="320679" y="310837"/>
                    </a:lnTo>
                    <a:cubicBezTo>
                      <a:pt x="319405" y="310763"/>
                      <a:pt x="318170" y="310498"/>
                      <a:pt x="316984" y="309959"/>
                    </a:cubicBezTo>
                    <a:cubicBezTo>
                      <a:pt x="307787" y="305647"/>
                      <a:pt x="281056" y="298172"/>
                      <a:pt x="278469" y="281787"/>
                    </a:cubicBezTo>
                    <a:cubicBezTo>
                      <a:pt x="276529" y="269497"/>
                      <a:pt x="275235" y="243140"/>
                      <a:pt x="279196" y="221148"/>
                    </a:cubicBezTo>
                    <a:lnTo>
                      <a:pt x="281137" y="212759"/>
                    </a:lnTo>
                    <a:lnTo>
                      <a:pt x="280817" y="212855"/>
                    </a:lnTo>
                    <a:lnTo>
                      <a:pt x="280074" y="213019"/>
                    </a:lnTo>
                    <a:cubicBezTo>
                      <a:pt x="269049" y="215467"/>
                      <a:pt x="223976" y="225587"/>
                      <a:pt x="208386" y="230868"/>
                    </a:cubicBezTo>
                    <a:cubicBezTo>
                      <a:pt x="190569" y="236902"/>
                      <a:pt x="148612" y="256155"/>
                      <a:pt x="129358" y="256155"/>
                    </a:cubicBezTo>
                    <a:cubicBezTo>
                      <a:pt x="102632" y="255868"/>
                      <a:pt x="76481" y="253856"/>
                      <a:pt x="76481" y="253856"/>
                    </a:cubicBezTo>
                    <a:cubicBezTo>
                      <a:pt x="76481" y="253856"/>
                      <a:pt x="66710" y="217649"/>
                      <a:pt x="56365" y="204718"/>
                    </a:cubicBezTo>
                    <a:cubicBezTo>
                      <a:pt x="45732" y="191787"/>
                      <a:pt x="12971" y="165062"/>
                      <a:pt x="6361" y="145234"/>
                    </a:cubicBezTo>
                    <a:cubicBezTo>
                      <a:pt x="39" y="125119"/>
                      <a:pt x="-3409" y="109027"/>
                      <a:pt x="4924" y="90923"/>
                    </a:cubicBezTo>
                    <a:cubicBezTo>
                      <a:pt x="12971" y="73107"/>
                      <a:pt x="26190" y="62762"/>
                      <a:pt x="26190" y="62762"/>
                    </a:cubicBezTo>
                    <a:lnTo>
                      <a:pt x="51192" y="63624"/>
                    </a:lnTo>
                    <a:cubicBezTo>
                      <a:pt x="62399" y="65061"/>
                      <a:pt x="80217" y="68222"/>
                      <a:pt x="92574" y="72245"/>
                    </a:cubicBezTo>
                    <a:cubicBezTo>
                      <a:pt x="104644" y="76268"/>
                      <a:pt x="148899" y="97533"/>
                      <a:pt x="148899" y="97533"/>
                    </a:cubicBezTo>
                    <a:lnTo>
                      <a:pt x="100620" y="70233"/>
                    </a:lnTo>
                    <a:lnTo>
                      <a:pt x="68722" y="57877"/>
                    </a:lnTo>
                    <a:cubicBezTo>
                      <a:pt x="68722" y="57877"/>
                      <a:pt x="82803" y="49544"/>
                      <a:pt x="95735" y="33739"/>
                    </a:cubicBezTo>
                    <a:cubicBezTo>
                      <a:pt x="108667" y="17934"/>
                      <a:pt x="109816" y="12187"/>
                      <a:pt x="118438" y="6440"/>
                    </a:cubicBezTo>
                    <a:cubicBezTo>
                      <a:pt x="124904" y="2345"/>
                      <a:pt x="129268" y="513"/>
                      <a:pt x="135290" y="95"/>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ea typeface="Segoe UI" pitchFamily="34" charset="0"/>
                  <a:cs typeface="Segoe UI" pitchFamily="34" charset="0"/>
                </a:endParaRPr>
              </a:p>
            </p:txBody>
          </p:sp>
          <p:sp>
            <p:nvSpPr>
              <p:cNvPr id="24" name="Freeform 23"/>
              <p:cNvSpPr>
                <a:spLocks/>
              </p:cNvSpPr>
              <p:nvPr/>
            </p:nvSpPr>
            <p:spPr bwMode="auto">
              <a:xfrm>
                <a:off x="1203881" y="3576757"/>
                <a:ext cx="290830" cy="297796"/>
              </a:xfrm>
              <a:custGeom>
                <a:avLst/>
                <a:gdLst>
                  <a:gd name="connsiteX0" fmla="*/ 1222186 w 2129049"/>
                  <a:gd name="connsiteY0" fmla="*/ 1839320 h 2180047"/>
                  <a:gd name="connsiteX1" fmla="*/ 1208400 w 2129049"/>
                  <a:gd name="connsiteY1" fmla="*/ 1841119 h 2180047"/>
                  <a:gd name="connsiteX2" fmla="*/ 1186099 w 2129049"/>
                  <a:gd name="connsiteY2" fmla="*/ 1843640 h 2180047"/>
                  <a:gd name="connsiteX3" fmla="*/ 1188379 w 2129049"/>
                  <a:gd name="connsiteY3" fmla="*/ 1844841 h 2180047"/>
                  <a:gd name="connsiteX4" fmla="*/ 1243194 w 2129049"/>
                  <a:gd name="connsiteY4" fmla="*/ 1939957 h 2180047"/>
                  <a:gd name="connsiteX5" fmla="*/ 1223702 w 2129049"/>
                  <a:gd name="connsiteY5" fmla="*/ 1853174 h 2180047"/>
                  <a:gd name="connsiteX6" fmla="*/ 1222569 w 2129049"/>
                  <a:gd name="connsiteY6" fmla="*/ 1839342 h 2180047"/>
                  <a:gd name="connsiteX7" fmla="*/ 441891 w 2129049"/>
                  <a:gd name="connsiteY7" fmla="*/ 1746105 h 2180047"/>
                  <a:gd name="connsiteX8" fmla="*/ 450977 w 2129049"/>
                  <a:gd name="connsiteY8" fmla="*/ 1757606 h 2180047"/>
                  <a:gd name="connsiteX9" fmla="*/ 707370 w 2129049"/>
                  <a:gd name="connsiteY9" fmla="*/ 1976776 h 2180047"/>
                  <a:gd name="connsiteX10" fmla="*/ 766453 w 2129049"/>
                  <a:gd name="connsiteY10" fmla="*/ 2010648 h 2180047"/>
                  <a:gd name="connsiteX11" fmla="*/ 831225 w 2129049"/>
                  <a:gd name="connsiteY11" fmla="*/ 2015356 h 2180047"/>
                  <a:gd name="connsiteX12" fmla="*/ 999836 w 2129049"/>
                  <a:gd name="connsiteY12" fmla="*/ 2014732 h 2180047"/>
                  <a:gd name="connsiteX13" fmla="*/ 1033552 w 2129049"/>
                  <a:gd name="connsiteY13" fmla="*/ 2011934 h 2180047"/>
                  <a:gd name="connsiteX14" fmla="*/ 1030508 w 2129049"/>
                  <a:gd name="connsiteY14" fmla="*/ 1991231 h 2180047"/>
                  <a:gd name="connsiteX15" fmla="*/ 1069280 w 2129049"/>
                  <a:gd name="connsiteY15" fmla="*/ 1869985 h 2180047"/>
                  <a:gd name="connsiteX16" fmla="*/ 1086998 w 2129049"/>
                  <a:gd name="connsiteY16" fmla="*/ 1852207 h 2180047"/>
                  <a:gd name="connsiteX17" fmla="*/ 1040249 w 2129049"/>
                  <a:gd name="connsiteY17" fmla="*/ 1855089 h 2180047"/>
                  <a:gd name="connsiteX18" fmla="*/ 700561 w 2129049"/>
                  <a:gd name="connsiteY18" fmla="*/ 1833012 h 2180047"/>
                  <a:gd name="connsiteX19" fmla="*/ 442094 w 2129049"/>
                  <a:gd name="connsiteY19" fmla="*/ 1746192 h 2180047"/>
                  <a:gd name="connsiteX20" fmla="*/ 1059954 w 2129049"/>
                  <a:gd name="connsiteY20" fmla="*/ 1504433 h 2180047"/>
                  <a:gd name="connsiteX21" fmla="*/ 1137935 w 2129049"/>
                  <a:gd name="connsiteY21" fmla="*/ 1553560 h 2180047"/>
                  <a:gd name="connsiteX22" fmla="*/ 1232714 w 2129049"/>
                  <a:gd name="connsiteY22" fmla="*/ 1597039 h 2180047"/>
                  <a:gd name="connsiteX23" fmla="*/ 1498003 w 2129049"/>
                  <a:gd name="connsiteY23" fmla="*/ 1620193 h 2180047"/>
                  <a:gd name="connsiteX24" fmla="*/ 1417995 w 2129049"/>
                  <a:gd name="connsiteY24" fmla="*/ 1660186 h 2180047"/>
                  <a:gd name="connsiteX25" fmla="*/ 1260085 w 2129049"/>
                  <a:gd name="connsiteY25" fmla="*/ 1660186 h 2180047"/>
                  <a:gd name="connsiteX26" fmla="*/ 1110597 w 2129049"/>
                  <a:gd name="connsiteY26" fmla="*/ 1640189 h 2180047"/>
                  <a:gd name="connsiteX27" fmla="*/ 1099046 w 2129049"/>
                  <a:gd name="connsiteY27" fmla="*/ 1638682 h 2180047"/>
                  <a:gd name="connsiteX28" fmla="*/ 251840 w 2129049"/>
                  <a:gd name="connsiteY28" fmla="*/ 316333 h 2180047"/>
                  <a:gd name="connsiteX29" fmla="*/ 246796 w 2129049"/>
                  <a:gd name="connsiteY29" fmla="*/ 329846 h 2180047"/>
                  <a:gd name="connsiteX30" fmla="*/ 161902 w 2129049"/>
                  <a:gd name="connsiteY30" fmla="*/ 686152 h 2180047"/>
                  <a:gd name="connsiteX31" fmla="*/ 163319 w 2129049"/>
                  <a:gd name="connsiteY31" fmla="*/ 765157 h 2180047"/>
                  <a:gd name="connsiteX32" fmla="*/ 168120 w 2129049"/>
                  <a:gd name="connsiteY32" fmla="*/ 772124 h 2180047"/>
                  <a:gd name="connsiteX33" fmla="*/ 462568 w 2129049"/>
                  <a:gd name="connsiteY33" fmla="*/ 1054574 h 2180047"/>
                  <a:gd name="connsiteX34" fmla="*/ 1083519 w 2129049"/>
                  <a:gd name="connsiteY34" fmla="*/ 1296666 h 2180047"/>
                  <a:gd name="connsiteX35" fmla="*/ 1112988 w 2129049"/>
                  <a:gd name="connsiteY35" fmla="*/ 1212460 h 2180047"/>
                  <a:gd name="connsiteX36" fmla="*/ 635171 w 2129049"/>
                  <a:gd name="connsiteY36" fmla="*/ 913528 h 2180047"/>
                  <a:gd name="connsiteX37" fmla="*/ 256327 w 2129049"/>
                  <a:gd name="connsiteY37" fmla="*/ 344726 h 2180047"/>
                  <a:gd name="connsiteX38" fmla="*/ 203697 w 2129049"/>
                  <a:gd name="connsiteY38" fmla="*/ 216555 h 2180047"/>
                  <a:gd name="connsiteX39" fmla="*/ 195507 w 2129049"/>
                  <a:gd name="connsiteY39" fmla="*/ 224152 h 2180047"/>
                  <a:gd name="connsiteX40" fmla="*/ 153435 w 2129049"/>
                  <a:gd name="connsiteY40" fmla="*/ 280530 h 2180047"/>
                  <a:gd name="connsiteX41" fmla="*/ 119142 w 2129049"/>
                  <a:gd name="connsiteY41" fmla="*/ 338248 h 2180047"/>
                  <a:gd name="connsiteX42" fmla="*/ 162420 w 2129049"/>
                  <a:gd name="connsiteY42" fmla="*/ 270250 h 2180047"/>
                  <a:gd name="connsiteX43" fmla="*/ 200473 w 2129049"/>
                  <a:gd name="connsiteY43" fmla="*/ 220227 h 2180047"/>
                  <a:gd name="connsiteX44" fmla="*/ 545326 w 2129049"/>
                  <a:gd name="connsiteY44" fmla="*/ 37476 h 2180047"/>
                  <a:gd name="connsiteX45" fmla="*/ 541800 w 2129049"/>
                  <a:gd name="connsiteY45" fmla="*/ 40991 h 2180047"/>
                  <a:gd name="connsiteX46" fmla="*/ 536701 w 2129049"/>
                  <a:gd name="connsiteY46" fmla="*/ 46149 h 2180047"/>
                  <a:gd name="connsiteX47" fmla="*/ 940947 w 2129049"/>
                  <a:gd name="connsiteY47" fmla="*/ 939893 h 2180047"/>
                  <a:gd name="connsiteX48" fmla="*/ 978333 w 2129049"/>
                  <a:gd name="connsiteY48" fmla="*/ 993267 h 2180047"/>
                  <a:gd name="connsiteX49" fmla="*/ 1095859 w 2129049"/>
                  <a:gd name="connsiteY49" fmla="*/ 1039243 h 2180047"/>
                  <a:gd name="connsiteX50" fmla="*/ 1131484 w 2129049"/>
                  <a:gd name="connsiteY50" fmla="*/ 1124187 h 2180047"/>
                  <a:gd name="connsiteX51" fmla="*/ 1146506 w 2129049"/>
                  <a:gd name="connsiteY51" fmla="*/ 1133109 h 2180047"/>
                  <a:gd name="connsiteX52" fmla="*/ 1148541 w 2129049"/>
                  <a:gd name="connsiteY52" fmla="*/ 1133748 h 2180047"/>
                  <a:gd name="connsiteX53" fmla="*/ 1141842 w 2129049"/>
                  <a:gd name="connsiteY53" fmla="*/ 1144915 h 2180047"/>
                  <a:gd name="connsiteX54" fmla="*/ 1141505 w 2129049"/>
                  <a:gd name="connsiteY54" fmla="*/ 1145660 h 2180047"/>
                  <a:gd name="connsiteX55" fmla="*/ 1187973 w 2129049"/>
                  <a:gd name="connsiteY55" fmla="*/ 1232630 h 2180047"/>
                  <a:gd name="connsiteX56" fmla="*/ 1289562 w 2129049"/>
                  <a:gd name="connsiteY56" fmla="*/ 1373921 h 2180047"/>
                  <a:gd name="connsiteX57" fmla="*/ 1531690 w 2129049"/>
                  <a:gd name="connsiteY57" fmla="*/ 1481270 h 2180047"/>
                  <a:gd name="connsiteX58" fmla="*/ 1426417 w 2129049"/>
                  <a:gd name="connsiteY58" fmla="*/ 1496004 h 2180047"/>
                  <a:gd name="connsiteX59" fmla="*/ 1194816 w 2129049"/>
                  <a:gd name="connsiteY59" fmla="*/ 1399179 h 2180047"/>
                  <a:gd name="connsiteX60" fmla="*/ 1145436 w 2129049"/>
                  <a:gd name="connsiteY60" fmla="*/ 1340670 h 2180047"/>
                  <a:gd name="connsiteX61" fmla="*/ 1091189 w 2129049"/>
                  <a:gd name="connsiteY61" fmla="*/ 1275923 h 2180047"/>
                  <a:gd name="connsiteX62" fmla="*/ 1064249 w 2129049"/>
                  <a:gd name="connsiteY62" fmla="*/ 1369079 h 2180047"/>
                  <a:gd name="connsiteX63" fmla="*/ 1046007 w 2129049"/>
                  <a:gd name="connsiteY63" fmla="*/ 1483657 h 2180047"/>
                  <a:gd name="connsiteX64" fmla="*/ 1046013 w 2129049"/>
                  <a:gd name="connsiteY64" fmla="*/ 1495461 h 2180047"/>
                  <a:gd name="connsiteX65" fmla="*/ 1012870 w 2129049"/>
                  <a:gd name="connsiteY65" fmla="*/ 1487283 h 2180047"/>
                  <a:gd name="connsiteX66" fmla="*/ 561761 w 2129049"/>
                  <a:gd name="connsiteY66" fmla="*/ 1355377 h 2180047"/>
                  <a:gd name="connsiteX67" fmla="*/ 245802 w 2129049"/>
                  <a:gd name="connsiteY67" fmla="*/ 1165644 h 2180047"/>
                  <a:gd name="connsiteX68" fmla="*/ 203985 w 2129049"/>
                  <a:gd name="connsiteY68" fmla="*/ 1132152 h 2180047"/>
                  <a:gd name="connsiteX69" fmla="*/ 234345 w 2129049"/>
                  <a:gd name="connsiteY69" fmla="*/ 1297625 h 2180047"/>
                  <a:gd name="connsiteX70" fmla="*/ 260418 w 2129049"/>
                  <a:gd name="connsiteY70" fmla="*/ 1401636 h 2180047"/>
                  <a:gd name="connsiteX71" fmla="*/ 276086 w 2129049"/>
                  <a:gd name="connsiteY71" fmla="*/ 1451374 h 2180047"/>
                  <a:gd name="connsiteX72" fmla="*/ 305709 w 2129049"/>
                  <a:gd name="connsiteY72" fmla="*/ 1466895 h 2180047"/>
                  <a:gd name="connsiteX73" fmla="*/ 561761 w 2129049"/>
                  <a:gd name="connsiteY73" fmla="*/ 1572001 h 2180047"/>
                  <a:gd name="connsiteX74" fmla="*/ 1106575 w 2129049"/>
                  <a:gd name="connsiteY74" fmla="*/ 1664539 h 2180047"/>
                  <a:gd name="connsiteX75" fmla="*/ 1106413 w 2129049"/>
                  <a:gd name="connsiteY75" fmla="*/ 1663981 h 2180047"/>
                  <a:gd name="connsiteX76" fmla="*/ 1109394 w 2129049"/>
                  <a:gd name="connsiteY76" fmla="*/ 1669032 h 2180047"/>
                  <a:gd name="connsiteX77" fmla="*/ 1145872 w 2129049"/>
                  <a:gd name="connsiteY77" fmla="*/ 1724864 h 2180047"/>
                  <a:gd name="connsiteX78" fmla="*/ 1151390 w 2129049"/>
                  <a:gd name="connsiteY78" fmla="*/ 1728726 h 2180047"/>
                  <a:gd name="connsiteX79" fmla="*/ 1244657 w 2129049"/>
                  <a:gd name="connsiteY79" fmla="*/ 1793994 h 2180047"/>
                  <a:gd name="connsiteX80" fmla="*/ 1255282 w 2129049"/>
                  <a:gd name="connsiteY80" fmla="*/ 1801430 h 2180047"/>
                  <a:gd name="connsiteX81" fmla="*/ 1259765 w 2129049"/>
                  <a:gd name="connsiteY81" fmla="*/ 1803273 h 2180047"/>
                  <a:gd name="connsiteX82" fmla="*/ 1262425 w 2129049"/>
                  <a:gd name="connsiteY82" fmla="*/ 1805592 h 2180047"/>
                  <a:gd name="connsiteX83" fmla="*/ 1274330 w 2129049"/>
                  <a:gd name="connsiteY83" fmla="*/ 1811179 h 2180047"/>
                  <a:gd name="connsiteX84" fmla="*/ 1470632 w 2129049"/>
                  <a:gd name="connsiteY84" fmla="*/ 1851731 h 2180047"/>
                  <a:gd name="connsiteX85" fmla="*/ 1337987 w 2129049"/>
                  <a:gd name="connsiteY85" fmla="*/ 1879094 h 2180047"/>
                  <a:gd name="connsiteX86" fmla="*/ 1331095 w 2129049"/>
                  <a:gd name="connsiteY86" fmla="*/ 1878426 h 2180047"/>
                  <a:gd name="connsiteX87" fmla="*/ 1337882 w 2129049"/>
                  <a:gd name="connsiteY87" fmla="*/ 1887387 h 2180047"/>
                  <a:gd name="connsiteX88" fmla="*/ 2129049 w 2129049"/>
                  <a:gd name="connsiteY88" fmla="*/ 1929443 h 2180047"/>
                  <a:gd name="connsiteX89" fmla="*/ 1413632 w 2129049"/>
                  <a:gd name="connsiteY89" fmla="*/ 2169166 h 2180047"/>
                  <a:gd name="connsiteX90" fmla="*/ 1301496 w 2129049"/>
                  <a:gd name="connsiteY90" fmla="*/ 2177335 h 2180047"/>
                  <a:gd name="connsiteX91" fmla="*/ 1281595 w 2129049"/>
                  <a:gd name="connsiteY91" fmla="*/ 2175656 h 2180047"/>
                  <a:gd name="connsiteX92" fmla="*/ 1272759 w 2129049"/>
                  <a:gd name="connsiteY92" fmla="*/ 2177928 h 2180047"/>
                  <a:gd name="connsiteX93" fmla="*/ 1063402 w 2129049"/>
                  <a:gd name="connsiteY93" fmla="*/ 2155016 h 2180047"/>
                  <a:gd name="connsiteX94" fmla="*/ 994039 w 2129049"/>
                  <a:gd name="connsiteY94" fmla="*/ 2133739 h 2180047"/>
                  <a:gd name="connsiteX95" fmla="*/ 954380 w 2129049"/>
                  <a:gd name="connsiteY95" fmla="*/ 2125140 h 2180047"/>
                  <a:gd name="connsiteX96" fmla="*/ 485181 w 2129049"/>
                  <a:gd name="connsiteY96" fmla="*/ 1869194 h 2180047"/>
                  <a:gd name="connsiteX97" fmla="*/ 424111 w 2129049"/>
                  <a:gd name="connsiteY97" fmla="*/ 1817746 h 2180047"/>
                  <a:gd name="connsiteX98" fmla="*/ 407264 w 2129049"/>
                  <a:gd name="connsiteY98" fmla="*/ 1804650 h 2180047"/>
                  <a:gd name="connsiteX99" fmla="*/ 400242 w 2129049"/>
                  <a:gd name="connsiteY99" fmla="*/ 1797638 h 2180047"/>
                  <a:gd name="connsiteX100" fmla="*/ 373060 w 2129049"/>
                  <a:gd name="connsiteY100" fmla="*/ 1774739 h 2180047"/>
                  <a:gd name="connsiteX101" fmla="*/ 178723 w 2129049"/>
                  <a:gd name="connsiteY101" fmla="*/ 1546546 h 2180047"/>
                  <a:gd name="connsiteX102" fmla="*/ 0 w 2129049"/>
                  <a:gd name="connsiteY102" fmla="*/ 780817 h 2180047"/>
                  <a:gd name="connsiteX103" fmla="*/ 75177 w 2129049"/>
                  <a:gd name="connsiteY103" fmla="*/ 424975 h 2180047"/>
                  <a:gd name="connsiteX104" fmla="*/ 118668 w 2129049"/>
                  <a:gd name="connsiteY104" fmla="*/ 339046 h 2180047"/>
                  <a:gd name="connsiteX105" fmla="*/ 116953 w 2129049"/>
                  <a:gd name="connsiteY105" fmla="*/ 341932 h 2180047"/>
                  <a:gd name="connsiteX106" fmla="*/ 93993 w 2129049"/>
                  <a:gd name="connsiteY106" fmla="*/ 385485 h 2180047"/>
                  <a:gd name="connsiteX107" fmla="*/ 93509 w 2129049"/>
                  <a:gd name="connsiteY107" fmla="*/ 386464 h 2180047"/>
                  <a:gd name="connsiteX108" fmla="*/ 95671 w 2129049"/>
                  <a:gd name="connsiteY108" fmla="*/ 380966 h 2180047"/>
                  <a:gd name="connsiteX109" fmla="*/ 182624 w 2129049"/>
                  <a:gd name="connsiteY109" fmla="*/ 235436 h 2180047"/>
                  <a:gd name="connsiteX110" fmla="*/ 478385 w 2129049"/>
                  <a:gd name="connsiteY110" fmla="*/ 56179 h 2180047"/>
                  <a:gd name="connsiteX111" fmla="*/ 999928 w 2129049"/>
                  <a:gd name="connsiteY111" fmla="*/ 0 h 2180047"/>
                  <a:gd name="connsiteX112" fmla="*/ 1676449 w 2129049"/>
                  <a:gd name="connsiteY112" fmla="*/ 525838 h 2180047"/>
                  <a:gd name="connsiteX113" fmla="*/ 1579666 w 2129049"/>
                  <a:gd name="connsiteY113" fmla="*/ 999319 h 2180047"/>
                  <a:gd name="connsiteX114" fmla="*/ 1467605 w 2129049"/>
                  <a:gd name="connsiteY114" fmla="*/ 1154947 h 2180047"/>
                  <a:gd name="connsiteX115" fmla="*/ 1464597 w 2129049"/>
                  <a:gd name="connsiteY115" fmla="*/ 1153889 h 2180047"/>
                  <a:gd name="connsiteX116" fmla="*/ 1452025 w 2129049"/>
                  <a:gd name="connsiteY116" fmla="*/ 1125910 h 2180047"/>
                  <a:gd name="connsiteX117" fmla="*/ 1421781 w 2129049"/>
                  <a:gd name="connsiteY117" fmla="*/ 1058603 h 2180047"/>
                  <a:gd name="connsiteX118" fmla="*/ 1327088 w 2129049"/>
                  <a:gd name="connsiteY118" fmla="*/ 961820 h 2180047"/>
                  <a:gd name="connsiteX119" fmla="*/ 1304643 w 2129049"/>
                  <a:gd name="connsiteY119" fmla="*/ 931982 h 2180047"/>
                  <a:gd name="connsiteX120" fmla="*/ 1303076 w 2129049"/>
                  <a:gd name="connsiteY120" fmla="*/ 929526 h 2180047"/>
                  <a:gd name="connsiteX121" fmla="*/ 1268667 w 2129049"/>
                  <a:gd name="connsiteY121" fmla="*/ 875590 h 2180047"/>
                  <a:gd name="connsiteX122" fmla="*/ 1300274 w 2129049"/>
                  <a:gd name="connsiteY122" fmla="*/ 628723 h 2180047"/>
                  <a:gd name="connsiteX123" fmla="*/ 1307563 w 2129049"/>
                  <a:gd name="connsiteY123" fmla="*/ 618378 h 2180047"/>
                  <a:gd name="connsiteX124" fmla="*/ 1298642 w 2129049"/>
                  <a:gd name="connsiteY124" fmla="*/ 596988 h 2180047"/>
                  <a:gd name="connsiteX125" fmla="*/ 1292154 w 2129049"/>
                  <a:gd name="connsiteY125" fmla="*/ 580800 h 2180047"/>
                  <a:gd name="connsiteX126" fmla="*/ 1285141 w 2129049"/>
                  <a:gd name="connsiteY126" fmla="*/ 579133 h 2180047"/>
                  <a:gd name="connsiteX127" fmla="*/ 1003184 w 2129049"/>
                  <a:gd name="connsiteY127" fmla="*/ 372896 h 2180047"/>
                  <a:gd name="connsiteX128" fmla="*/ 993448 w 2129049"/>
                  <a:gd name="connsiteY128" fmla="*/ 53615 h 2180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2129049" h="2180047">
                    <a:moveTo>
                      <a:pt x="1222186" y="1839320"/>
                    </a:moveTo>
                    <a:cubicBezTo>
                      <a:pt x="1222186" y="1839320"/>
                      <a:pt x="1217322" y="1840010"/>
                      <a:pt x="1208400" y="1841119"/>
                    </a:cubicBezTo>
                    <a:lnTo>
                      <a:pt x="1186099" y="1843640"/>
                    </a:lnTo>
                    <a:lnTo>
                      <a:pt x="1188379" y="1844841"/>
                    </a:lnTo>
                    <a:cubicBezTo>
                      <a:pt x="1208837" y="1862152"/>
                      <a:pt x="1227939" y="1892644"/>
                      <a:pt x="1243194" y="1939957"/>
                    </a:cubicBezTo>
                    <a:cubicBezTo>
                      <a:pt x="1232936" y="1903158"/>
                      <a:pt x="1226723" y="1874737"/>
                      <a:pt x="1223702" y="1853174"/>
                    </a:cubicBezTo>
                    <a:lnTo>
                      <a:pt x="1222569" y="1839342"/>
                    </a:lnTo>
                    <a:close/>
                    <a:moveTo>
                      <a:pt x="441891" y="1746105"/>
                    </a:moveTo>
                    <a:lnTo>
                      <a:pt x="450977" y="1757606"/>
                    </a:lnTo>
                    <a:cubicBezTo>
                      <a:pt x="523579" y="1840277"/>
                      <a:pt x="612111" y="1915885"/>
                      <a:pt x="707370" y="1976776"/>
                    </a:cubicBezTo>
                    <a:lnTo>
                      <a:pt x="766453" y="2010648"/>
                    </a:lnTo>
                    <a:lnTo>
                      <a:pt x="831225" y="2015356"/>
                    </a:lnTo>
                    <a:cubicBezTo>
                      <a:pt x="884464" y="2017808"/>
                      <a:pt x="942877" y="2017788"/>
                      <a:pt x="999836" y="2014732"/>
                    </a:cubicBezTo>
                    <a:lnTo>
                      <a:pt x="1033552" y="2011934"/>
                    </a:lnTo>
                    <a:lnTo>
                      <a:pt x="1030508" y="1991231"/>
                    </a:lnTo>
                    <a:cubicBezTo>
                      <a:pt x="1029673" y="1945751"/>
                      <a:pt x="1045399" y="1901238"/>
                      <a:pt x="1069280" y="1869985"/>
                    </a:cubicBezTo>
                    <a:lnTo>
                      <a:pt x="1086998" y="1852207"/>
                    </a:lnTo>
                    <a:lnTo>
                      <a:pt x="1040249" y="1855089"/>
                    </a:lnTo>
                    <a:cubicBezTo>
                      <a:pt x="936134" y="1859819"/>
                      <a:pt x="805728" y="1858242"/>
                      <a:pt x="700561" y="1833012"/>
                    </a:cubicBezTo>
                    <a:cubicBezTo>
                      <a:pt x="607620" y="1810016"/>
                      <a:pt x="515887" y="1776557"/>
                      <a:pt x="442094" y="1746192"/>
                    </a:cubicBezTo>
                    <a:close/>
                    <a:moveTo>
                      <a:pt x="1059954" y="1504433"/>
                    </a:moveTo>
                    <a:lnTo>
                      <a:pt x="1137935" y="1553560"/>
                    </a:lnTo>
                    <a:cubicBezTo>
                      <a:pt x="1171787" y="1572701"/>
                      <a:pt x="1204817" y="1588620"/>
                      <a:pt x="1232714" y="1597039"/>
                    </a:cubicBezTo>
                    <a:cubicBezTo>
                      <a:pt x="1361148" y="1634927"/>
                      <a:pt x="1457999" y="1643347"/>
                      <a:pt x="1498003" y="1620193"/>
                    </a:cubicBezTo>
                    <a:cubicBezTo>
                      <a:pt x="1498003" y="1620193"/>
                      <a:pt x="1462210" y="1649661"/>
                      <a:pt x="1417995" y="1660186"/>
                    </a:cubicBezTo>
                    <a:cubicBezTo>
                      <a:pt x="1373780" y="1668605"/>
                      <a:pt x="1319038" y="1668605"/>
                      <a:pt x="1260085" y="1660186"/>
                    </a:cubicBezTo>
                    <a:cubicBezTo>
                      <a:pt x="1230609" y="1655976"/>
                      <a:pt x="1166918" y="1647556"/>
                      <a:pt x="1110597" y="1640189"/>
                    </a:cubicBezTo>
                    <a:lnTo>
                      <a:pt x="1099046" y="1638682"/>
                    </a:lnTo>
                    <a:close/>
                    <a:moveTo>
                      <a:pt x="251840" y="316333"/>
                    </a:moveTo>
                    <a:lnTo>
                      <a:pt x="246796" y="329846"/>
                    </a:lnTo>
                    <a:cubicBezTo>
                      <a:pt x="205006" y="446862"/>
                      <a:pt x="162954" y="588333"/>
                      <a:pt x="161902" y="686152"/>
                    </a:cubicBezTo>
                    <a:lnTo>
                      <a:pt x="163319" y="765157"/>
                    </a:lnTo>
                    <a:lnTo>
                      <a:pt x="168120" y="772124"/>
                    </a:lnTo>
                    <a:cubicBezTo>
                      <a:pt x="237177" y="866056"/>
                      <a:pt x="334563" y="972605"/>
                      <a:pt x="462568" y="1054574"/>
                    </a:cubicBezTo>
                    <a:cubicBezTo>
                      <a:pt x="755152" y="1239827"/>
                      <a:pt x="1083519" y="1296666"/>
                      <a:pt x="1083519" y="1296666"/>
                    </a:cubicBezTo>
                    <a:cubicBezTo>
                      <a:pt x="1112988" y="1212460"/>
                      <a:pt x="1112988" y="1212460"/>
                      <a:pt x="1112988" y="1212460"/>
                    </a:cubicBezTo>
                    <a:cubicBezTo>
                      <a:pt x="1112988" y="1212460"/>
                      <a:pt x="1058260" y="1208250"/>
                      <a:pt x="635171" y="913528"/>
                    </a:cubicBezTo>
                    <a:cubicBezTo>
                      <a:pt x="372057" y="730643"/>
                      <a:pt x="286544" y="495129"/>
                      <a:pt x="256327" y="344726"/>
                    </a:cubicBezTo>
                    <a:close/>
                    <a:moveTo>
                      <a:pt x="203697" y="216555"/>
                    </a:moveTo>
                    <a:lnTo>
                      <a:pt x="195507" y="224152"/>
                    </a:lnTo>
                    <a:cubicBezTo>
                      <a:pt x="181433" y="239566"/>
                      <a:pt x="166968" y="259629"/>
                      <a:pt x="153435" y="280530"/>
                    </a:cubicBezTo>
                    <a:lnTo>
                      <a:pt x="119142" y="338248"/>
                    </a:lnTo>
                    <a:lnTo>
                      <a:pt x="162420" y="270250"/>
                    </a:lnTo>
                    <a:cubicBezTo>
                      <a:pt x="176342" y="250442"/>
                      <a:pt x="189335" y="233719"/>
                      <a:pt x="200473" y="220227"/>
                    </a:cubicBezTo>
                    <a:close/>
                    <a:moveTo>
                      <a:pt x="545326" y="37476"/>
                    </a:moveTo>
                    <a:lnTo>
                      <a:pt x="541800" y="40991"/>
                    </a:lnTo>
                    <a:cubicBezTo>
                      <a:pt x="538494" y="44318"/>
                      <a:pt x="536701" y="46149"/>
                      <a:pt x="536701" y="46149"/>
                    </a:cubicBezTo>
                    <a:cubicBezTo>
                      <a:pt x="536701" y="131636"/>
                      <a:pt x="760164" y="665826"/>
                      <a:pt x="940947" y="939893"/>
                    </a:cubicBezTo>
                    <a:lnTo>
                      <a:pt x="978333" y="993267"/>
                    </a:lnTo>
                    <a:lnTo>
                      <a:pt x="1095859" y="1039243"/>
                    </a:lnTo>
                    <a:lnTo>
                      <a:pt x="1131484" y="1124187"/>
                    </a:lnTo>
                    <a:lnTo>
                      <a:pt x="1146506" y="1133109"/>
                    </a:lnTo>
                    <a:lnTo>
                      <a:pt x="1148541" y="1133748"/>
                    </a:lnTo>
                    <a:lnTo>
                      <a:pt x="1141842" y="1144915"/>
                    </a:lnTo>
                    <a:lnTo>
                      <a:pt x="1141505" y="1145660"/>
                    </a:lnTo>
                    <a:lnTo>
                      <a:pt x="1187973" y="1232630"/>
                    </a:lnTo>
                    <a:cubicBezTo>
                      <a:pt x="1223766" y="1293409"/>
                      <a:pt x="1261138" y="1345505"/>
                      <a:pt x="1289562" y="1373921"/>
                    </a:cubicBezTo>
                    <a:cubicBezTo>
                      <a:pt x="1344304" y="1428648"/>
                      <a:pt x="1426417" y="1496004"/>
                      <a:pt x="1531690" y="1481270"/>
                    </a:cubicBezTo>
                    <a:cubicBezTo>
                      <a:pt x="1531690" y="1481270"/>
                      <a:pt x="1476948" y="1504424"/>
                      <a:pt x="1426417" y="1496004"/>
                    </a:cubicBezTo>
                    <a:cubicBezTo>
                      <a:pt x="1377991" y="1485480"/>
                      <a:pt x="1245347" y="1456011"/>
                      <a:pt x="1194816" y="1399179"/>
                    </a:cubicBezTo>
                    <a:cubicBezTo>
                      <a:pt x="1182709" y="1384971"/>
                      <a:pt x="1165076" y="1364054"/>
                      <a:pt x="1145436" y="1340670"/>
                    </a:cubicBezTo>
                    <a:lnTo>
                      <a:pt x="1091189" y="1275923"/>
                    </a:lnTo>
                    <a:lnTo>
                      <a:pt x="1064249" y="1369079"/>
                    </a:lnTo>
                    <a:cubicBezTo>
                      <a:pt x="1054868" y="1409695"/>
                      <a:pt x="1048279" y="1449238"/>
                      <a:pt x="1046007" y="1483657"/>
                    </a:cubicBezTo>
                    <a:lnTo>
                      <a:pt x="1046013" y="1495461"/>
                    </a:lnTo>
                    <a:lnTo>
                      <a:pt x="1012870" y="1487283"/>
                    </a:lnTo>
                    <a:cubicBezTo>
                      <a:pt x="926987" y="1465792"/>
                      <a:pt x="733725" y="1415316"/>
                      <a:pt x="561761" y="1355377"/>
                    </a:cubicBezTo>
                    <a:cubicBezTo>
                      <a:pt x="461449" y="1320412"/>
                      <a:pt x="345032" y="1242374"/>
                      <a:pt x="245802" y="1165644"/>
                    </a:cubicBezTo>
                    <a:lnTo>
                      <a:pt x="203985" y="1132152"/>
                    </a:lnTo>
                    <a:lnTo>
                      <a:pt x="234345" y="1297625"/>
                    </a:lnTo>
                    <a:cubicBezTo>
                      <a:pt x="242410" y="1333469"/>
                      <a:pt x="251108" y="1368352"/>
                      <a:pt x="260418" y="1401636"/>
                    </a:cubicBezTo>
                    <a:lnTo>
                      <a:pt x="276086" y="1451374"/>
                    </a:lnTo>
                    <a:lnTo>
                      <a:pt x="305709" y="1466895"/>
                    </a:lnTo>
                    <a:cubicBezTo>
                      <a:pt x="373741" y="1500727"/>
                      <a:pt x="458919" y="1537496"/>
                      <a:pt x="561761" y="1572001"/>
                    </a:cubicBezTo>
                    <a:cubicBezTo>
                      <a:pt x="875187" y="1675055"/>
                      <a:pt x="1106575" y="1664539"/>
                      <a:pt x="1106575" y="1664539"/>
                    </a:cubicBezTo>
                    <a:lnTo>
                      <a:pt x="1106413" y="1663981"/>
                    </a:lnTo>
                    <a:lnTo>
                      <a:pt x="1109394" y="1669032"/>
                    </a:lnTo>
                    <a:lnTo>
                      <a:pt x="1145872" y="1724864"/>
                    </a:lnTo>
                    <a:lnTo>
                      <a:pt x="1151390" y="1728726"/>
                    </a:lnTo>
                    <a:cubicBezTo>
                      <a:pt x="1204685" y="1766022"/>
                      <a:pt x="1231333" y="1784670"/>
                      <a:pt x="1244657" y="1793994"/>
                    </a:cubicBezTo>
                    <a:lnTo>
                      <a:pt x="1255282" y="1801430"/>
                    </a:lnTo>
                    <a:lnTo>
                      <a:pt x="1259765" y="1803273"/>
                    </a:lnTo>
                    <a:lnTo>
                      <a:pt x="1262425" y="1805592"/>
                    </a:lnTo>
                    <a:lnTo>
                      <a:pt x="1274330" y="1811179"/>
                    </a:lnTo>
                    <a:cubicBezTo>
                      <a:pt x="1306011" y="1825288"/>
                      <a:pt x="1380623" y="1853310"/>
                      <a:pt x="1470632" y="1851731"/>
                    </a:cubicBezTo>
                    <a:cubicBezTo>
                      <a:pt x="1470632" y="1851731"/>
                      <a:pt x="1375886" y="1881199"/>
                      <a:pt x="1337987" y="1879094"/>
                    </a:cubicBezTo>
                    <a:lnTo>
                      <a:pt x="1331095" y="1878426"/>
                    </a:lnTo>
                    <a:lnTo>
                      <a:pt x="1337882" y="1887387"/>
                    </a:lnTo>
                    <a:cubicBezTo>
                      <a:pt x="1419945" y="2013557"/>
                      <a:pt x="2129049" y="1929443"/>
                      <a:pt x="2129049" y="1929443"/>
                    </a:cubicBezTo>
                    <a:cubicBezTo>
                      <a:pt x="2129049" y="1929443"/>
                      <a:pt x="2129049" y="1929443"/>
                      <a:pt x="1413632" y="2169166"/>
                    </a:cubicBezTo>
                    <a:cubicBezTo>
                      <a:pt x="1372338" y="2174818"/>
                      <a:pt x="1335063" y="2177389"/>
                      <a:pt x="1301496" y="2177335"/>
                    </a:cubicBezTo>
                    <a:lnTo>
                      <a:pt x="1281595" y="2175656"/>
                    </a:lnTo>
                    <a:lnTo>
                      <a:pt x="1272759" y="2177928"/>
                    </a:lnTo>
                    <a:cubicBezTo>
                      <a:pt x="1225811" y="2184118"/>
                      <a:pt x="1152027" y="2176826"/>
                      <a:pt x="1063402" y="2155016"/>
                    </a:cubicBezTo>
                    <a:lnTo>
                      <a:pt x="994039" y="2133739"/>
                    </a:lnTo>
                    <a:lnTo>
                      <a:pt x="954380" y="2125140"/>
                    </a:lnTo>
                    <a:cubicBezTo>
                      <a:pt x="795130" y="2082053"/>
                      <a:pt x="625466" y="1978945"/>
                      <a:pt x="485181" y="1869194"/>
                    </a:cubicBezTo>
                    <a:lnTo>
                      <a:pt x="424111" y="1817746"/>
                    </a:lnTo>
                    <a:lnTo>
                      <a:pt x="407264" y="1804650"/>
                    </a:lnTo>
                    <a:lnTo>
                      <a:pt x="400242" y="1797638"/>
                    </a:lnTo>
                    <a:lnTo>
                      <a:pt x="373060" y="1774739"/>
                    </a:lnTo>
                    <a:cubicBezTo>
                      <a:pt x="269990" y="1681147"/>
                      <a:pt x="196858" y="1593878"/>
                      <a:pt x="178723" y="1546546"/>
                    </a:cubicBezTo>
                    <a:cubicBezTo>
                      <a:pt x="92516" y="1378254"/>
                      <a:pt x="0" y="1054291"/>
                      <a:pt x="0" y="780817"/>
                    </a:cubicBezTo>
                    <a:cubicBezTo>
                      <a:pt x="0" y="639609"/>
                      <a:pt x="33412" y="519701"/>
                      <a:pt x="75177" y="424975"/>
                    </a:cubicBezTo>
                    <a:lnTo>
                      <a:pt x="118668" y="339046"/>
                    </a:lnTo>
                    <a:lnTo>
                      <a:pt x="116953" y="341932"/>
                    </a:lnTo>
                    <a:cubicBezTo>
                      <a:pt x="106605" y="360695"/>
                      <a:pt x="98512" y="376484"/>
                      <a:pt x="93993" y="385485"/>
                    </a:cubicBezTo>
                    <a:lnTo>
                      <a:pt x="93509" y="386464"/>
                    </a:lnTo>
                    <a:lnTo>
                      <a:pt x="95671" y="380966"/>
                    </a:lnTo>
                    <a:cubicBezTo>
                      <a:pt x="123713" y="321057"/>
                      <a:pt x="154747" y="273315"/>
                      <a:pt x="182624" y="235436"/>
                    </a:cubicBezTo>
                    <a:cubicBezTo>
                      <a:pt x="241010" y="154155"/>
                      <a:pt x="355019" y="96548"/>
                      <a:pt x="478385" y="56179"/>
                    </a:cubicBezTo>
                    <a:close/>
                    <a:moveTo>
                      <a:pt x="999928" y="0"/>
                    </a:moveTo>
                    <a:lnTo>
                      <a:pt x="1676449" y="525838"/>
                    </a:lnTo>
                    <a:cubicBezTo>
                      <a:pt x="1676449" y="525838"/>
                      <a:pt x="1594394" y="780465"/>
                      <a:pt x="1579666" y="999319"/>
                    </a:cubicBezTo>
                    <a:cubicBezTo>
                      <a:pt x="1570461" y="1136103"/>
                      <a:pt x="1517697" y="1165202"/>
                      <a:pt x="1467605" y="1154947"/>
                    </a:cubicBezTo>
                    <a:lnTo>
                      <a:pt x="1464597" y="1153889"/>
                    </a:lnTo>
                    <a:lnTo>
                      <a:pt x="1452025" y="1125910"/>
                    </a:lnTo>
                    <a:cubicBezTo>
                      <a:pt x="1443951" y="1107940"/>
                      <a:pt x="1434013" y="1085824"/>
                      <a:pt x="1421781" y="1058603"/>
                    </a:cubicBezTo>
                    <a:cubicBezTo>
                      <a:pt x="1421781" y="1058603"/>
                      <a:pt x="1360757" y="999691"/>
                      <a:pt x="1327088" y="961820"/>
                    </a:cubicBezTo>
                    <a:lnTo>
                      <a:pt x="1304643" y="931982"/>
                    </a:lnTo>
                    <a:lnTo>
                      <a:pt x="1303076" y="929526"/>
                    </a:lnTo>
                    <a:cubicBezTo>
                      <a:pt x="1268667" y="875590"/>
                      <a:pt x="1268667" y="875590"/>
                      <a:pt x="1268667" y="875590"/>
                    </a:cubicBezTo>
                    <a:cubicBezTo>
                      <a:pt x="1268667" y="875590"/>
                      <a:pt x="1236457" y="743498"/>
                      <a:pt x="1300274" y="628723"/>
                    </a:cubicBezTo>
                    <a:lnTo>
                      <a:pt x="1307563" y="618378"/>
                    </a:lnTo>
                    <a:lnTo>
                      <a:pt x="1298642" y="596988"/>
                    </a:lnTo>
                    <a:lnTo>
                      <a:pt x="1292154" y="580800"/>
                    </a:lnTo>
                    <a:lnTo>
                      <a:pt x="1285141" y="579133"/>
                    </a:lnTo>
                    <a:cubicBezTo>
                      <a:pt x="1217808" y="547566"/>
                      <a:pt x="1022122" y="492850"/>
                      <a:pt x="1003184" y="372896"/>
                    </a:cubicBezTo>
                    <a:cubicBezTo>
                      <a:pt x="992533" y="305422"/>
                      <a:pt x="984544" y="180018"/>
                      <a:pt x="993448" y="53615"/>
                    </a:cubicBezTo>
                    <a:close/>
                  </a:path>
                </a:pathLst>
              </a:custGeom>
              <a:solidFill>
                <a:srgbClr val="FAED22"/>
              </a:solidFill>
              <a:ln w="3175" cap="flat">
                <a:solidFill>
                  <a:schemeClr val="tx1"/>
                </a:solidFill>
                <a:prstDash val="solid"/>
                <a:miter lim="800000"/>
                <a:headEnd/>
                <a:tailEnd/>
              </a:ln>
            </p:spPr>
            <p:txBody>
              <a:bodyPr vert="horz" wrap="square" lIns="89642" tIns="44821" rIns="89642" bIns="44821" numCol="1" anchor="t" anchorCtr="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000000"/>
                  </a:solidFill>
                  <a:effectLst/>
                  <a:uLnTx/>
                  <a:uFillTx/>
                </a:endParaRPr>
              </a:p>
            </p:txBody>
          </p:sp>
          <p:sp>
            <p:nvSpPr>
              <p:cNvPr id="25" name="Freeform 24"/>
              <p:cNvSpPr>
                <a:spLocks/>
              </p:cNvSpPr>
              <p:nvPr/>
            </p:nvSpPr>
            <p:spPr bwMode="auto">
              <a:xfrm>
                <a:off x="1058398" y="3354141"/>
                <a:ext cx="533724" cy="414349"/>
              </a:xfrm>
              <a:custGeom>
                <a:avLst/>
                <a:gdLst>
                  <a:gd name="connsiteX0" fmla="*/ 3283994 w 3907177"/>
                  <a:gd name="connsiteY0" fmla="*/ 2199606 h 3033282"/>
                  <a:gd name="connsiteX1" fmla="*/ 3216771 w 3907177"/>
                  <a:gd name="connsiteY1" fmla="*/ 2237508 h 3033282"/>
                  <a:gd name="connsiteX2" fmla="*/ 3176070 w 3907177"/>
                  <a:gd name="connsiteY2" fmla="*/ 2287254 h 3033282"/>
                  <a:gd name="connsiteX3" fmla="*/ 3157902 w 3907177"/>
                  <a:gd name="connsiteY3" fmla="*/ 2304911 h 3033282"/>
                  <a:gd name="connsiteX4" fmla="*/ 3148728 w 3907177"/>
                  <a:gd name="connsiteY4" fmla="*/ 2311436 h 3033282"/>
                  <a:gd name="connsiteX5" fmla="*/ 3136944 w 3907177"/>
                  <a:gd name="connsiteY5" fmla="*/ 2319628 h 3033282"/>
                  <a:gd name="connsiteX6" fmla="*/ 3154439 w 3907177"/>
                  <a:gd name="connsiteY6" fmla="*/ 2308277 h 3033282"/>
                  <a:gd name="connsiteX7" fmla="*/ 3157902 w 3907177"/>
                  <a:gd name="connsiteY7" fmla="*/ 2304911 h 3033282"/>
                  <a:gd name="connsiteX8" fmla="*/ 3176070 w 3907177"/>
                  <a:gd name="connsiteY8" fmla="*/ 2291992 h 3033282"/>
                  <a:gd name="connsiteX9" fmla="*/ 3229375 w 3907177"/>
                  <a:gd name="connsiteY9" fmla="*/ 2250142 h 3033282"/>
                  <a:gd name="connsiteX10" fmla="*/ 3317605 w 3907177"/>
                  <a:gd name="connsiteY10" fmla="*/ 2231191 h 3033282"/>
                  <a:gd name="connsiteX11" fmla="*/ 3378755 w 3907177"/>
                  <a:gd name="connsiteY11" fmla="*/ 2245404 h 3033282"/>
                  <a:gd name="connsiteX12" fmla="*/ 3382808 w 3907177"/>
                  <a:gd name="connsiteY12" fmla="*/ 2247161 h 3033282"/>
                  <a:gd name="connsiteX13" fmla="*/ 3351550 w 3907177"/>
                  <a:gd name="connsiteY13" fmla="*/ 2248260 h 3033282"/>
                  <a:gd name="connsiteX14" fmla="*/ 3315694 w 3907177"/>
                  <a:gd name="connsiteY14" fmla="*/ 2268558 h 3033282"/>
                  <a:gd name="connsiteX15" fmla="*/ 3248262 w 3907177"/>
                  <a:gd name="connsiteY15" fmla="*/ 2369622 h 3033282"/>
                  <a:gd name="connsiteX16" fmla="*/ 3195581 w 3907177"/>
                  <a:gd name="connsiteY16" fmla="*/ 2443314 h 3033282"/>
                  <a:gd name="connsiteX17" fmla="*/ 3288300 w 3907177"/>
                  <a:gd name="connsiteY17" fmla="*/ 2346462 h 3033282"/>
                  <a:gd name="connsiteX18" fmla="*/ 3334660 w 3907177"/>
                  <a:gd name="connsiteY18" fmla="*/ 2295930 h 3033282"/>
                  <a:gd name="connsiteX19" fmla="*/ 3404199 w 3907177"/>
                  <a:gd name="connsiteY19" fmla="*/ 2281191 h 3033282"/>
                  <a:gd name="connsiteX20" fmla="*/ 3442129 w 3907177"/>
                  <a:gd name="connsiteY20" fmla="*/ 2291719 h 3033282"/>
                  <a:gd name="connsiteX21" fmla="*/ 3448451 w 3907177"/>
                  <a:gd name="connsiteY21" fmla="*/ 2258031 h 3033282"/>
                  <a:gd name="connsiteX22" fmla="*/ 3432746 w 3907177"/>
                  <a:gd name="connsiteY22" fmla="*/ 2253458 h 3033282"/>
                  <a:gd name="connsiteX23" fmla="*/ 3399309 w 3907177"/>
                  <a:gd name="connsiteY23" fmla="*/ 2247403 h 3033282"/>
                  <a:gd name="connsiteX24" fmla="*/ 3406885 w 3907177"/>
                  <a:gd name="connsiteY24" fmla="*/ 2246720 h 3033282"/>
                  <a:gd name="connsiteX25" fmla="*/ 3422640 w 3907177"/>
                  <a:gd name="connsiteY25" fmla="*/ 2231191 h 3033282"/>
                  <a:gd name="connsiteX26" fmla="*/ 3370122 w 3907177"/>
                  <a:gd name="connsiteY26" fmla="*/ 2208029 h 3033282"/>
                  <a:gd name="connsiteX27" fmla="*/ 3283994 w 3907177"/>
                  <a:gd name="connsiteY27" fmla="*/ 2199606 h 3033282"/>
                  <a:gd name="connsiteX28" fmla="*/ 3868985 w 3907177"/>
                  <a:gd name="connsiteY28" fmla="*/ 2136388 h 3033282"/>
                  <a:gd name="connsiteX29" fmla="*/ 3734396 w 3907177"/>
                  <a:gd name="connsiteY29" fmla="*/ 2199444 h 3033282"/>
                  <a:gd name="connsiteX30" fmla="*/ 3559852 w 3907177"/>
                  <a:gd name="connsiteY30" fmla="*/ 2182629 h 3033282"/>
                  <a:gd name="connsiteX31" fmla="*/ 3641867 w 3907177"/>
                  <a:gd name="connsiteY31" fmla="*/ 2241481 h 3033282"/>
                  <a:gd name="connsiteX32" fmla="*/ 3702852 w 3907177"/>
                  <a:gd name="connsiteY32" fmla="*/ 2239379 h 3033282"/>
                  <a:gd name="connsiteX33" fmla="*/ 3831132 w 3907177"/>
                  <a:gd name="connsiteY33" fmla="*/ 2178425 h 3033282"/>
                  <a:gd name="connsiteX34" fmla="*/ 3868985 w 3907177"/>
                  <a:gd name="connsiteY34" fmla="*/ 2136388 h 3033282"/>
                  <a:gd name="connsiteX35" fmla="*/ 3385344 w 3907177"/>
                  <a:gd name="connsiteY35" fmla="*/ 2089937 h 3033282"/>
                  <a:gd name="connsiteX36" fmla="*/ 3403807 w 3907177"/>
                  <a:gd name="connsiteY36" fmla="*/ 2092045 h 3033282"/>
                  <a:gd name="connsiteX37" fmla="*/ 3420687 w 3907177"/>
                  <a:gd name="connsiteY37" fmla="*/ 2119439 h 3033282"/>
                  <a:gd name="connsiteX38" fmla="*/ 3410137 w 3907177"/>
                  <a:gd name="connsiteY38" fmla="*/ 2151048 h 3033282"/>
                  <a:gd name="connsiteX39" fmla="*/ 3380596 w 3907177"/>
                  <a:gd name="connsiteY39" fmla="*/ 2144726 h 3033282"/>
                  <a:gd name="connsiteX40" fmla="*/ 3353166 w 3907177"/>
                  <a:gd name="connsiteY40" fmla="*/ 2146834 h 3033282"/>
                  <a:gd name="connsiteX41" fmla="*/ 3353166 w 3907177"/>
                  <a:gd name="connsiteY41" fmla="*/ 2113117 h 3033282"/>
                  <a:gd name="connsiteX42" fmla="*/ 3370046 w 3907177"/>
                  <a:gd name="connsiteY42" fmla="*/ 2094152 h 3033282"/>
                  <a:gd name="connsiteX43" fmla="*/ 3385344 w 3907177"/>
                  <a:gd name="connsiteY43" fmla="*/ 2089937 h 3033282"/>
                  <a:gd name="connsiteX44" fmla="*/ 2921466 w 3907177"/>
                  <a:gd name="connsiteY44" fmla="*/ 1940074 h 3033282"/>
                  <a:gd name="connsiteX45" fmla="*/ 2876044 w 3907177"/>
                  <a:gd name="connsiteY45" fmla="*/ 1945069 h 3033282"/>
                  <a:gd name="connsiteX46" fmla="*/ 2796228 w 3907177"/>
                  <a:gd name="connsiteY46" fmla="*/ 1980818 h 3033282"/>
                  <a:gd name="connsiteX47" fmla="*/ 2716411 w 3907177"/>
                  <a:gd name="connsiteY47" fmla="*/ 2018670 h 3033282"/>
                  <a:gd name="connsiteX48" fmla="*/ 2773123 w 3907177"/>
                  <a:gd name="connsiteY48" fmla="*/ 2014464 h 3033282"/>
                  <a:gd name="connsiteX49" fmla="*/ 2813031 w 3907177"/>
                  <a:gd name="connsiteY49" fmla="*/ 2008155 h 3033282"/>
                  <a:gd name="connsiteX50" fmla="*/ 2810931 w 3907177"/>
                  <a:gd name="connsiteY50" fmla="*/ 2075448 h 3033282"/>
                  <a:gd name="connsiteX51" fmla="*/ 2825634 w 3907177"/>
                  <a:gd name="connsiteY51" fmla="*/ 2117505 h 3033282"/>
                  <a:gd name="connsiteX52" fmla="*/ 2817232 w 3907177"/>
                  <a:gd name="connsiteY52" fmla="*/ 2123814 h 3033282"/>
                  <a:gd name="connsiteX53" fmla="*/ 2773123 w 3907177"/>
                  <a:gd name="connsiteY53" fmla="*/ 2157460 h 3033282"/>
                  <a:gd name="connsiteX54" fmla="*/ 2848738 w 3907177"/>
                  <a:gd name="connsiteY54" fmla="*/ 2125917 h 3033282"/>
                  <a:gd name="connsiteX55" fmla="*/ 2941157 w 3907177"/>
                  <a:gd name="connsiteY55" fmla="*/ 2104888 h 3033282"/>
                  <a:gd name="connsiteX56" fmla="*/ 3111292 w 3907177"/>
                  <a:gd name="connsiteY56" fmla="*/ 2106991 h 3033282"/>
                  <a:gd name="connsiteX57" fmla="*/ 3056681 w 3907177"/>
                  <a:gd name="connsiteY57" fmla="*/ 2085962 h 3033282"/>
                  <a:gd name="connsiteX58" fmla="*/ 3016773 w 3907177"/>
                  <a:gd name="connsiteY58" fmla="*/ 2081756 h 3033282"/>
                  <a:gd name="connsiteX59" fmla="*/ 3023074 w 3907177"/>
                  <a:gd name="connsiteY59" fmla="*/ 2027081 h 3033282"/>
                  <a:gd name="connsiteX60" fmla="*/ 2995769 w 3907177"/>
                  <a:gd name="connsiteY60" fmla="*/ 1970303 h 3033282"/>
                  <a:gd name="connsiteX61" fmla="*/ 3018873 w 3907177"/>
                  <a:gd name="connsiteY61" fmla="*/ 1966098 h 3033282"/>
                  <a:gd name="connsiteX62" fmla="*/ 3065083 w 3907177"/>
                  <a:gd name="connsiteY62" fmla="*/ 1957686 h 3033282"/>
                  <a:gd name="connsiteX63" fmla="*/ 2968463 w 3907177"/>
                  <a:gd name="connsiteY63" fmla="*/ 1942966 h 3033282"/>
                  <a:gd name="connsiteX64" fmla="*/ 2921466 w 3907177"/>
                  <a:gd name="connsiteY64" fmla="*/ 1940074 h 3033282"/>
                  <a:gd name="connsiteX65" fmla="*/ 2882143 w 3907177"/>
                  <a:gd name="connsiteY65" fmla="*/ 1689578 h 3033282"/>
                  <a:gd name="connsiteX66" fmla="*/ 2779009 w 3907177"/>
                  <a:gd name="connsiteY66" fmla="*/ 1700880 h 3033282"/>
                  <a:gd name="connsiteX67" fmla="*/ 2720075 w 3907177"/>
                  <a:gd name="connsiteY67" fmla="*/ 1810222 h 3033282"/>
                  <a:gd name="connsiteX68" fmla="*/ 2806371 w 3907177"/>
                  <a:gd name="connsiteY68" fmla="*/ 1730318 h 3033282"/>
                  <a:gd name="connsiteX69" fmla="*/ 2953705 w 3907177"/>
                  <a:gd name="connsiteY69" fmla="*/ 1692469 h 3033282"/>
                  <a:gd name="connsiteX70" fmla="*/ 2882143 w 3907177"/>
                  <a:gd name="connsiteY70" fmla="*/ 1689578 h 3033282"/>
                  <a:gd name="connsiteX71" fmla="*/ 2751741 w 3907177"/>
                  <a:gd name="connsiteY71" fmla="*/ 1152523 h 3033282"/>
                  <a:gd name="connsiteX72" fmla="*/ 2752273 w 3907177"/>
                  <a:gd name="connsiteY72" fmla="*/ 1154187 h 3033282"/>
                  <a:gd name="connsiteX73" fmla="*/ 2764036 w 3907177"/>
                  <a:gd name="connsiteY73" fmla="*/ 1192874 h 3033282"/>
                  <a:gd name="connsiteX74" fmla="*/ 2787833 w 3907177"/>
                  <a:gd name="connsiteY74" fmla="*/ 1274009 h 3033282"/>
                  <a:gd name="connsiteX75" fmla="*/ 2819472 w 3907177"/>
                  <a:gd name="connsiteY75" fmla="*/ 1283014 h 3033282"/>
                  <a:gd name="connsiteX76" fmla="*/ 2820261 w 3907177"/>
                  <a:gd name="connsiteY76" fmla="*/ 1283258 h 3033282"/>
                  <a:gd name="connsiteX77" fmla="*/ 2825890 w 3907177"/>
                  <a:gd name="connsiteY77" fmla="*/ 1283302 h 3033282"/>
                  <a:gd name="connsiteX78" fmla="*/ 2903747 w 3907177"/>
                  <a:gd name="connsiteY78" fmla="*/ 1291542 h 3033282"/>
                  <a:gd name="connsiteX79" fmla="*/ 2899550 w 3907177"/>
                  <a:gd name="connsiteY79" fmla="*/ 1288295 h 3033282"/>
                  <a:gd name="connsiteX80" fmla="*/ 2806596 w 3907177"/>
                  <a:gd name="connsiteY80" fmla="*/ 1216396 h 3033282"/>
                  <a:gd name="connsiteX81" fmla="*/ 2775061 w 3907177"/>
                  <a:gd name="connsiteY81" fmla="*/ 1179930 h 3033282"/>
                  <a:gd name="connsiteX82" fmla="*/ 1695768 w 3907177"/>
                  <a:gd name="connsiteY82" fmla="*/ 862876 h 3033282"/>
                  <a:gd name="connsiteX83" fmla="*/ 2078780 w 3907177"/>
                  <a:gd name="connsiteY83" fmla="*/ 919680 h 3033282"/>
                  <a:gd name="connsiteX84" fmla="*/ 2177689 w 3907177"/>
                  <a:gd name="connsiteY84" fmla="*/ 938615 h 3033282"/>
                  <a:gd name="connsiteX85" fmla="*/ 2274495 w 3907177"/>
                  <a:gd name="connsiteY85" fmla="*/ 997523 h 3033282"/>
                  <a:gd name="connsiteX86" fmla="*/ 2192421 w 3907177"/>
                  <a:gd name="connsiteY86" fmla="*/ 984900 h 3033282"/>
                  <a:gd name="connsiteX87" fmla="*/ 2082989 w 3907177"/>
                  <a:gd name="connsiteY87" fmla="*/ 1031185 h 3033282"/>
                  <a:gd name="connsiteX88" fmla="*/ 2013542 w 3907177"/>
                  <a:gd name="connsiteY88" fmla="*/ 1064846 h 3033282"/>
                  <a:gd name="connsiteX89" fmla="*/ 2177689 w 3907177"/>
                  <a:gd name="connsiteY89" fmla="*/ 1060639 h 3033282"/>
                  <a:gd name="connsiteX90" fmla="*/ 2320793 w 3907177"/>
                  <a:gd name="connsiteY90" fmla="*/ 1102716 h 3033282"/>
                  <a:gd name="connsiteX91" fmla="*/ 2402867 w 3907177"/>
                  <a:gd name="connsiteY91" fmla="*/ 1193182 h 3033282"/>
                  <a:gd name="connsiteX92" fmla="*/ 2477977 w 3907177"/>
                  <a:gd name="connsiteY92" fmla="*/ 1304520 h 3033282"/>
                  <a:gd name="connsiteX93" fmla="*/ 2495231 w 3907177"/>
                  <a:gd name="connsiteY93" fmla="*/ 1302276 h 3033282"/>
                  <a:gd name="connsiteX94" fmla="*/ 2479203 w 3907177"/>
                  <a:gd name="connsiteY94" fmla="*/ 1263722 h 3033282"/>
                  <a:gd name="connsiteX95" fmla="*/ 2352360 w 3907177"/>
                  <a:gd name="connsiteY95" fmla="*/ 974380 h 3033282"/>
                  <a:gd name="connsiteX96" fmla="*/ 2194525 w 3907177"/>
                  <a:gd name="connsiteY96" fmla="*/ 875499 h 3033282"/>
                  <a:gd name="connsiteX97" fmla="*/ 1695768 w 3907177"/>
                  <a:gd name="connsiteY97" fmla="*/ 862876 h 3033282"/>
                  <a:gd name="connsiteX98" fmla="*/ 2884074 w 3907177"/>
                  <a:gd name="connsiteY98" fmla="*/ 435929 h 3033282"/>
                  <a:gd name="connsiteX99" fmla="*/ 2987291 w 3907177"/>
                  <a:gd name="connsiteY99" fmla="*/ 631716 h 3033282"/>
                  <a:gd name="connsiteX100" fmla="*/ 3130531 w 3907177"/>
                  <a:gd name="connsiteY100" fmla="*/ 1008552 h 3033282"/>
                  <a:gd name="connsiteX101" fmla="*/ 3063124 w 3907177"/>
                  <a:gd name="connsiteY101" fmla="*/ 682241 h 3033282"/>
                  <a:gd name="connsiteX102" fmla="*/ 2970440 w 3907177"/>
                  <a:gd name="connsiteY102" fmla="*/ 520138 h 3033282"/>
                  <a:gd name="connsiteX103" fmla="*/ 2884074 w 3907177"/>
                  <a:gd name="connsiteY103" fmla="*/ 435929 h 3033282"/>
                  <a:gd name="connsiteX104" fmla="*/ 990408 w 3907177"/>
                  <a:gd name="connsiteY104" fmla="*/ 698 h 3033282"/>
                  <a:gd name="connsiteX105" fmla="*/ 1039550 w 3907177"/>
                  <a:gd name="connsiteY105" fmla="*/ 863 h 3033282"/>
                  <a:gd name="connsiteX106" fmla="*/ 1348803 w 3907177"/>
                  <a:gd name="connsiteY106" fmla="*/ 72387 h 3033282"/>
                  <a:gd name="connsiteX107" fmla="*/ 1737998 w 3907177"/>
                  <a:gd name="connsiteY107" fmla="*/ 232264 h 3033282"/>
                  <a:gd name="connsiteX108" fmla="*/ 2005176 w 3907177"/>
                  <a:gd name="connsiteY108" fmla="*/ 371104 h 3033282"/>
                  <a:gd name="connsiteX109" fmla="*/ 2203455 w 3907177"/>
                  <a:gd name="connsiteY109" fmla="*/ 477601 h 3033282"/>
                  <a:gd name="connsiteX110" fmla="*/ 2296994 w 3907177"/>
                  <a:gd name="connsiteY110" fmla="*/ 530121 h 3033282"/>
                  <a:gd name="connsiteX111" fmla="*/ 2323986 w 3907177"/>
                  <a:gd name="connsiteY111" fmla="*/ 546882 h 3033282"/>
                  <a:gd name="connsiteX112" fmla="*/ 2357160 w 3907177"/>
                  <a:gd name="connsiteY112" fmla="*/ 567482 h 3033282"/>
                  <a:gd name="connsiteX113" fmla="*/ 2404890 w 3907177"/>
                  <a:gd name="connsiteY113" fmla="*/ 598298 h 3033282"/>
                  <a:gd name="connsiteX114" fmla="*/ 2415440 w 3907177"/>
                  <a:gd name="connsiteY114" fmla="*/ 605928 h 3033282"/>
                  <a:gd name="connsiteX115" fmla="*/ 2362991 w 3907177"/>
                  <a:gd name="connsiteY115" fmla="*/ 493093 h 3033282"/>
                  <a:gd name="connsiteX116" fmla="*/ 2329266 w 3907177"/>
                  <a:gd name="connsiteY116" fmla="*/ 483333 h 3033282"/>
                  <a:gd name="connsiteX117" fmla="*/ 2307060 w 3907177"/>
                  <a:gd name="connsiteY117" fmla="*/ 476906 h 3033282"/>
                  <a:gd name="connsiteX118" fmla="*/ 2313198 w 3907177"/>
                  <a:gd name="connsiteY118" fmla="*/ 470584 h 3033282"/>
                  <a:gd name="connsiteX119" fmla="*/ 2460566 w 3907177"/>
                  <a:gd name="connsiteY119" fmla="*/ 333037 h 3033282"/>
                  <a:gd name="connsiteX120" fmla="*/ 2482676 w 3907177"/>
                  <a:gd name="connsiteY120" fmla="*/ 317005 h 3033282"/>
                  <a:gd name="connsiteX121" fmla="*/ 2522361 w 3907177"/>
                  <a:gd name="connsiteY121" fmla="*/ 296868 h 3033282"/>
                  <a:gd name="connsiteX122" fmla="*/ 2554579 w 3907177"/>
                  <a:gd name="connsiteY122" fmla="*/ 283748 h 3033282"/>
                  <a:gd name="connsiteX123" fmla="*/ 2694384 w 3907177"/>
                  <a:gd name="connsiteY123" fmla="*/ 254812 h 3033282"/>
                  <a:gd name="connsiteX124" fmla="*/ 2798186 w 3907177"/>
                  <a:gd name="connsiteY124" fmla="*/ 277829 h 3033282"/>
                  <a:gd name="connsiteX125" fmla="*/ 2857052 w 3907177"/>
                  <a:gd name="connsiteY125" fmla="*/ 260994 h 3033282"/>
                  <a:gd name="connsiteX126" fmla="*/ 2861191 w 3907177"/>
                  <a:gd name="connsiteY126" fmla="*/ 261705 h 3033282"/>
                  <a:gd name="connsiteX127" fmla="*/ 2866568 w 3907177"/>
                  <a:gd name="connsiteY127" fmla="*/ 262766 h 3033282"/>
                  <a:gd name="connsiteX128" fmla="*/ 2867847 w 3907177"/>
                  <a:gd name="connsiteY128" fmla="*/ 263215 h 3033282"/>
                  <a:gd name="connsiteX129" fmla="*/ 2874182 w 3907177"/>
                  <a:gd name="connsiteY129" fmla="*/ 265939 h 3033282"/>
                  <a:gd name="connsiteX130" fmla="*/ 2878772 w 3907177"/>
                  <a:gd name="connsiteY130" fmla="*/ 265783 h 3033282"/>
                  <a:gd name="connsiteX131" fmla="*/ 2879970 w 3907177"/>
                  <a:gd name="connsiteY131" fmla="*/ 265863 h 3033282"/>
                  <a:gd name="connsiteX132" fmla="*/ 2909084 w 3907177"/>
                  <a:gd name="connsiteY132" fmla="*/ 273357 h 3033282"/>
                  <a:gd name="connsiteX133" fmla="*/ 2989498 w 3907177"/>
                  <a:gd name="connsiteY133" fmla="*/ 315709 h 3033282"/>
                  <a:gd name="connsiteX134" fmla="*/ 3365815 w 3907177"/>
                  <a:gd name="connsiteY134" fmla="*/ 925987 h 3033282"/>
                  <a:gd name="connsiteX135" fmla="*/ 3233368 w 3907177"/>
                  <a:gd name="connsiteY135" fmla="*/ 1376331 h 3033282"/>
                  <a:gd name="connsiteX136" fmla="*/ 3239761 w 3907177"/>
                  <a:gd name="connsiteY136" fmla="*/ 1410216 h 3033282"/>
                  <a:gd name="connsiteX137" fmla="*/ 3243622 w 3907177"/>
                  <a:gd name="connsiteY137" fmla="*/ 1426604 h 3033282"/>
                  <a:gd name="connsiteX138" fmla="*/ 3302854 w 3907177"/>
                  <a:gd name="connsiteY138" fmla="*/ 1472111 h 3033282"/>
                  <a:gd name="connsiteX139" fmla="*/ 3442037 w 3907177"/>
                  <a:gd name="connsiteY139" fmla="*/ 1705090 h 3033282"/>
                  <a:gd name="connsiteX140" fmla="*/ 3433973 w 3907177"/>
                  <a:gd name="connsiteY140" fmla="*/ 1732860 h 3033282"/>
                  <a:gd name="connsiteX141" fmla="*/ 3404867 w 3907177"/>
                  <a:gd name="connsiteY141" fmla="*/ 1673697 h 3033282"/>
                  <a:gd name="connsiteX142" fmla="*/ 3388345 w 3907177"/>
                  <a:gd name="connsiteY142" fmla="*/ 1639131 h 3033282"/>
                  <a:gd name="connsiteX143" fmla="*/ 3377441 w 3907177"/>
                  <a:gd name="connsiteY143" fmla="*/ 1616053 h 3033282"/>
                  <a:gd name="connsiteX144" fmla="*/ 3359581 w 3907177"/>
                  <a:gd name="connsiteY144" fmla="*/ 1565598 h 3033282"/>
                  <a:gd name="connsiteX145" fmla="*/ 3361687 w 3907177"/>
                  <a:gd name="connsiteY145" fmla="*/ 1582431 h 3033282"/>
                  <a:gd name="connsiteX146" fmla="*/ 3374588 w 3907177"/>
                  <a:gd name="connsiteY146" fmla="*/ 1610015 h 3033282"/>
                  <a:gd name="connsiteX147" fmla="*/ 3377441 w 3907177"/>
                  <a:gd name="connsiteY147" fmla="*/ 1616053 h 3033282"/>
                  <a:gd name="connsiteX148" fmla="*/ 3442901 w 3907177"/>
                  <a:gd name="connsiteY148" fmla="*/ 1800978 h 3033282"/>
                  <a:gd name="connsiteX149" fmla="*/ 3440408 w 3907177"/>
                  <a:gd name="connsiteY149" fmla="*/ 1796829 h 3033282"/>
                  <a:gd name="connsiteX150" fmla="*/ 3433154 w 3907177"/>
                  <a:gd name="connsiteY150" fmla="*/ 1784752 h 3033282"/>
                  <a:gd name="connsiteX151" fmla="*/ 3397602 w 3907177"/>
                  <a:gd name="connsiteY151" fmla="*/ 1761774 h 3033282"/>
                  <a:gd name="connsiteX152" fmla="*/ 3349501 w 3907177"/>
                  <a:gd name="connsiteY152" fmla="*/ 1755507 h 3033282"/>
                  <a:gd name="connsiteX153" fmla="*/ 3395510 w 3907177"/>
                  <a:gd name="connsiteY153" fmla="*/ 1772218 h 3033282"/>
                  <a:gd name="connsiteX154" fmla="*/ 3439918 w 3907177"/>
                  <a:gd name="connsiteY154" fmla="*/ 1800713 h 3033282"/>
                  <a:gd name="connsiteX155" fmla="*/ 3444055 w 3907177"/>
                  <a:gd name="connsiteY155" fmla="*/ 1804238 h 3033282"/>
                  <a:gd name="connsiteX156" fmla="*/ 3555468 w 3907177"/>
                  <a:gd name="connsiteY156" fmla="*/ 2118980 h 3033282"/>
                  <a:gd name="connsiteX157" fmla="*/ 3553362 w 3907177"/>
                  <a:gd name="connsiteY157" fmla="*/ 2091890 h 3033282"/>
                  <a:gd name="connsiteX158" fmla="*/ 3553487 w 3907177"/>
                  <a:gd name="connsiteY158" fmla="*/ 2080908 h 3033282"/>
                  <a:gd name="connsiteX159" fmla="*/ 3554536 w 3907177"/>
                  <a:gd name="connsiteY159" fmla="*/ 2083695 h 3033282"/>
                  <a:gd name="connsiteX160" fmla="*/ 3570142 w 3907177"/>
                  <a:gd name="connsiteY160" fmla="*/ 2125146 h 3033282"/>
                  <a:gd name="connsiteX161" fmla="*/ 3570375 w 3907177"/>
                  <a:gd name="connsiteY161" fmla="*/ 2125765 h 3033282"/>
                  <a:gd name="connsiteX162" fmla="*/ 3570326 w 3907177"/>
                  <a:gd name="connsiteY162" fmla="*/ 2125774 h 3033282"/>
                  <a:gd name="connsiteX163" fmla="*/ 3524755 w 3907177"/>
                  <a:gd name="connsiteY163" fmla="*/ 2128437 h 3033282"/>
                  <a:gd name="connsiteX164" fmla="*/ 3520991 w 3907177"/>
                  <a:gd name="connsiteY164" fmla="*/ 2130652 h 3033282"/>
                  <a:gd name="connsiteX165" fmla="*/ 3519898 w 3907177"/>
                  <a:gd name="connsiteY165" fmla="*/ 2125754 h 3033282"/>
                  <a:gd name="connsiteX166" fmla="*/ 3513061 w 3907177"/>
                  <a:gd name="connsiteY166" fmla="*/ 2102599 h 3033282"/>
                  <a:gd name="connsiteX167" fmla="*/ 3485716 w 3907177"/>
                  <a:gd name="connsiteY167" fmla="*/ 2058392 h 3033282"/>
                  <a:gd name="connsiteX168" fmla="*/ 3422611 w 3907177"/>
                  <a:gd name="connsiteY168" fmla="*/ 2039446 h 3033282"/>
                  <a:gd name="connsiteX169" fmla="*/ 3384747 w 3907177"/>
                  <a:gd name="connsiteY169" fmla="*/ 2043657 h 3033282"/>
                  <a:gd name="connsiteX170" fmla="*/ 3334263 w 3907177"/>
                  <a:gd name="connsiteY170" fmla="*/ 2031026 h 3033282"/>
                  <a:gd name="connsiteX171" fmla="*/ 3378437 w 3907177"/>
                  <a:gd name="connsiteY171" fmla="*/ 2058392 h 3033282"/>
                  <a:gd name="connsiteX172" fmla="*/ 3357402 w 3907177"/>
                  <a:gd name="connsiteY172" fmla="*/ 2092073 h 3033282"/>
                  <a:gd name="connsiteX173" fmla="*/ 3351091 w 3907177"/>
                  <a:gd name="connsiteY173" fmla="*/ 2140490 h 3033282"/>
                  <a:gd name="connsiteX174" fmla="*/ 3317435 w 3907177"/>
                  <a:gd name="connsiteY174" fmla="*/ 2140490 h 3033282"/>
                  <a:gd name="connsiteX175" fmla="*/ 3359505 w 3907177"/>
                  <a:gd name="connsiteY175" fmla="*/ 2155225 h 3033282"/>
                  <a:gd name="connsiteX176" fmla="*/ 3416300 w 3907177"/>
                  <a:gd name="connsiteY176" fmla="*/ 2180486 h 3033282"/>
                  <a:gd name="connsiteX177" fmla="*/ 3468953 w 3907177"/>
                  <a:gd name="connsiteY177" fmla="*/ 2204760 h 3033282"/>
                  <a:gd name="connsiteX178" fmla="*/ 3471183 w 3907177"/>
                  <a:gd name="connsiteY178" fmla="*/ 2205864 h 3033282"/>
                  <a:gd name="connsiteX179" fmla="*/ 3465112 w 3907177"/>
                  <a:gd name="connsiteY179" fmla="*/ 2222558 h 3033282"/>
                  <a:gd name="connsiteX180" fmla="*/ 3404088 w 3907177"/>
                  <a:gd name="connsiteY180" fmla="*/ 2397188 h 3033282"/>
                  <a:gd name="connsiteX181" fmla="*/ 3303083 w 3907177"/>
                  <a:gd name="connsiteY181" fmla="*/ 2544467 h 3033282"/>
                  <a:gd name="connsiteX182" fmla="*/ 3395671 w 3907177"/>
                  <a:gd name="connsiteY182" fmla="*/ 2456100 h 3033282"/>
                  <a:gd name="connsiteX183" fmla="*/ 3450382 w 3907177"/>
                  <a:gd name="connsiteY183" fmla="*/ 2386668 h 3033282"/>
                  <a:gd name="connsiteX184" fmla="*/ 3526136 w 3907177"/>
                  <a:gd name="connsiteY184" fmla="*/ 2184686 h 3033282"/>
                  <a:gd name="connsiteX185" fmla="*/ 3618725 w 3907177"/>
                  <a:gd name="connsiteY185" fmla="*/ 2163646 h 3033282"/>
                  <a:gd name="connsiteX186" fmla="*/ 3751294 w 3907177"/>
                  <a:gd name="connsiteY186" fmla="*/ 2136294 h 3033282"/>
                  <a:gd name="connsiteX187" fmla="*/ 3799430 w 3907177"/>
                  <a:gd name="connsiteY187" fmla="*/ 2104735 h 3033282"/>
                  <a:gd name="connsiteX188" fmla="*/ 3810437 w 3907177"/>
                  <a:gd name="connsiteY188" fmla="*/ 2099831 h 3033282"/>
                  <a:gd name="connsiteX189" fmla="*/ 3824461 w 3907177"/>
                  <a:gd name="connsiteY189" fmla="*/ 2097367 h 3033282"/>
                  <a:gd name="connsiteX190" fmla="*/ 3829342 w 3907177"/>
                  <a:gd name="connsiteY190" fmla="*/ 2096510 h 3033282"/>
                  <a:gd name="connsiteX191" fmla="*/ 3845987 w 3907177"/>
                  <a:gd name="connsiteY191" fmla="*/ 2098423 h 3033282"/>
                  <a:gd name="connsiteX192" fmla="*/ 3904907 w 3907177"/>
                  <a:gd name="connsiteY192" fmla="*/ 2180478 h 3033282"/>
                  <a:gd name="connsiteX193" fmla="*/ 3885968 w 3907177"/>
                  <a:gd name="connsiteY193" fmla="*/ 2315133 h 3033282"/>
                  <a:gd name="connsiteX194" fmla="*/ 3884225 w 3907177"/>
                  <a:gd name="connsiteY194" fmla="*/ 2328571 h 3033282"/>
                  <a:gd name="connsiteX195" fmla="*/ 3881324 w 3907177"/>
                  <a:gd name="connsiteY195" fmla="*/ 2344937 h 3033282"/>
                  <a:gd name="connsiteX196" fmla="*/ 3878738 w 3907177"/>
                  <a:gd name="connsiteY196" fmla="*/ 2354578 h 3033282"/>
                  <a:gd name="connsiteX197" fmla="*/ 3857107 w 3907177"/>
                  <a:gd name="connsiteY197" fmla="*/ 2435219 h 3033282"/>
                  <a:gd name="connsiteX198" fmla="*/ 3839183 w 3907177"/>
                  <a:gd name="connsiteY198" fmla="*/ 2502042 h 3033282"/>
                  <a:gd name="connsiteX199" fmla="*/ 3806236 w 3907177"/>
                  <a:gd name="connsiteY199" fmla="*/ 2584501 h 3033282"/>
                  <a:gd name="connsiteX200" fmla="*/ 3612412 w 3907177"/>
                  <a:gd name="connsiteY200" fmla="*/ 2876897 h 3033282"/>
                  <a:gd name="connsiteX201" fmla="*/ 3004275 w 3907177"/>
                  <a:gd name="connsiteY201" fmla="*/ 2912665 h 3033282"/>
                  <a:gd name="connsiteX202" fmla="*/ 2812785 w 3907177"/>
                  <a:gd name="connsiteY202" fmla="*/ 2759074 h 3033282"/>
                  <a:gd name="connsiteX203" fmla="*/ 2726510 w 3907177"/>
                  <a:gd name="connsiteY203" fmla="*/ 2651771 h 3033282"/>
                  <a:gd name="connsiteX204" fmla="*/ 2722301 w 3907177"/>
                  <a:gd name="connsiteY204" fmla="*/ 2655979 h 3033282"/>
                  <a:gd name="connsiteX205" fmla="*/ 2686529 w 3907177"/>
                  <a:gd name="connsiteY205" fmla="*/ 2750658 h 3033282"/>
                  <a:gd name="connsiteX206" fmla="*/ 2646547 w 3907177"/>
                  <a:gd name="connsiteY206" fmla="*/ 2799050 h 3033282"/>
                  <a:gd name="connsiteX207" fmla="*/ 2593940 w 3907177"/>
                  <a:gd name="connsiteY207" fmla="*/ 2887417 h 3033282"/>
                  <a:gd name="connsiteX208" fmla="*/ 2606566 w 3907177"/>
                  <a:gd name="connsiteY208" fmla="*/ 2963160 h 3033282"/>
                  <a:gd name="connsiteX209" fmla="*/ 2724406 w 3907177"/>
                  <a:gd name="connsiteY209" fmla="*/ 3001032 h 3033282"/>
                  <a:gd name="connsiteX210" fmla="*/ 2614983 w 3907177"/>
                  <a:gd name="connsiteY210" fmla="*/ 2916873 h 3033282"/>
                  <a:gd name="connsiteX211" fmla="*/ 2636026 w 3907177"/>
                  <a:gd name="connsiteY211" fmla="*/ 2931601 h 3033282"/>
                  <a:gd name="connsiteX212" fmla="*/ 2741240 w 3907177"/>
                  <a:gd name="connsiteY212" fmla="*/ 2975784 h 3033282"/>
                  <a:gd name="connsiteX213" fmla="*/ 2823307 w 3907177"/>
                  <a:gd name="connsiteY213" fmla="*/ 2935809 h 3033282"/>
                  <a:gd name="connsiteX214" fmla="*/ 2869601 w 3907177"/>
                  <a:gd name="connsiteY214" fmla="*/ 2874793 h 3033282"/>
                  <a:gd name="connsiteX215" fmla="*/ 2909582 w 3907177"/>
                  <a:gd name="connsiteY215" fmla="*/ 2914769 h 3033282"/>
                  <a:gd name="connsiteX216" fmla="*/ 2804368 w 3907177"/>
                  <a:gd name="connsiteY216" fmla="*/ 3009448 h 3033282"/>
                  <a:gd name="connsiteX217" fmla="*/ 2631817 w 3907177"/>
                  <a:gd name="connsiteY217" fmla="*/ 3019968 h 3033282"/>
                  <a:gd name="connsiteX218" fmla="*/ 2592812 w 3907177"/>
                  <a:gd name="connsiteY218" fmla="*/ 2997729 h 3033282"/>
                  <a:gd name="connsiteX219" fmla="*/ 2571463 w 3907177"/>
                  <a:gd name="connsiteY219" fmla="*/ 2978979 h 3033282"/>
                  <a:gd name="connsiteX220" fmla="*/ 2569646 w 3907177"/>
                  <a:gd name="connsiteY220" fmla="*/ 2977384 h 3033282"/>
                  <a:gd name="connsiteX221" fmla="*/ 2550477 w 3907177"/>
                  <a:gd name="connsiteY221" fmla="*/ 2953365 h 3033282"/>
                  <a:gd name="connsiteX222" fmla="*/ 2543509 w 3907177"/>
                  <a:gd name="connsiteY222" fmla="*/ 2942341 h 3033282"/>
                  <a:gd name="connsiteX223" fmla="*/ 2527951 w 3907177"/>
                  <a:gd name="connsiteY223" fmla="*/ 2910199 h 3033282"/>
                  <a:gd name="connsiteX224" fmla="*/ 2522395 w 3907177"/>
                  <a:gd name="connsiteY224" fmla="*/ 2893729 h 3033282"/>
                  <a:gd name="connsiteX225" fmla="*/ 2457162 w 3907177"/>
                  <a:gd name="connsiteY225" fmla="*/ 2748554 h 3033282"/>
                  <a:gd name="connsiteX226" fmla="*/ 2362469 w 3907177"/>
                  <a:gd name="connsiteY226" fmla="*/ 2651771 h 3033282"/>
                  <a:gd name="connsiteX227" fmla="*/ 2340024 w 3907177"/>
                  <a:gd name="connsiteY227" fmla="*/ 2621933 h 3033282"/>
                  <a:gd name="connsiteX228" fmla="*/ 2338457 w 3907177"/>
                  <a:gd name="connsiteY228" fmla="*/ 2619477 h 3033282"/>
                  <a:gd name="connsiteX229" fmla="*/ 2304048 w 3907177"/>
                  <a:gd name="connsiteY229" fmla="*/ 2565541 h 3033282"/>
                  <a:gd name="connsiteX230" fmla="*/ 2335655 w 3907177"/>
                  <a:gd name="connsiteY230" fmla="*/ 2318674 h 3033282"/>
                  <a:gd name="connsiteX231" fmla="*/ 2366996 w 3907177"/>
                  <a:gd name="connsiteY231" fmla="*/ 2274192 h 3033282"/>
                  <a:gd name="connsiteX232" fmla="*/ 2347572 w 3907177"/>
                  <a:gd name="connsiteY232" fmla="*/ 2275513 h 3033282"/>
                  <a:gd name="connsiteX233" fmla="*/ 2320522 w 3907177"/>
                  <a:gd name="connsiteY233" fmla="*/ 2269084 h 3033282"/>
                  <a:gd name="connsiteX234" fmla="*/ 2038565 w 3907177"/>
                  <a:gd name="connsiteY234" fmla="*/ 2062847 h 3033282"/>
                  <a:gd name="connsiteX235" fmla="*/ 2043892 w 3907177"/>
                  <a:gd name="connsiteY235" fmla="*/ 1618938 h 3033282"/>
                  <a:gd name="connsiteX236" fmla="*/ 2058099 w 3907177"/>
                  <a:gd name="connsiteY236" fmla="*/ 1557525 h 3033282"/>
                  <a:gd name="connsiteX237" fmla="*/ 2055755 w 3907177"/>
                  <a:gd name="connsiteY237" fmla="*/ 1558228 h 3033282"/>
                  <a:gd name="connsiteX238" fmla="*/ 2050316 w 3907177"/>
                  <a:gd name="connsiteY238" fmla="*/ 1559430 h 3033282"/>
                  <a:gd name="connsiteX239" fmla="*/ 1525518 w 3907177"/>
                  <a:gd name="connsiteY239" fmla="*/ 1690090 h 3033282"/>
                  <a:gd name="connsiteX240" fmla="*/ 946985 w 3907177"/>
                  <a:gd name="connsiteY240" fmla="*/ 1875211 h 3033282"/>
                  <a:gd name="connsiteX241" fmla="*/ 559893 w 3907177"/>
                  <a:gd name="connsiteY241" fmla="*/ 1858382 h 3033282"/>
                  <a:gd name="connsiteX242" fmla="*/ 412630 w 3907177"/>
                  <a:gd name="connsiteY242" fmla="*/ 1498659 h 3033282"/>
                  <a:gd name="connsiteX243" fmla="*/ 46576 w 3907177"/>
                  <a:gd name="connsiteY243" fmla="*/ 1063204 h 3033282"/>
                  <a:gd name="connsiteX244" fmla="*/ 36057 w 3907177"/>
                  <a:gd name="connsiteY244" fmla="*/ 665615 h 3033282"/>
                  <a:gd name="connsiteX245" fmla="*/ 191735 w 3907177"/>
                  <a:gd name="connsiteY245" fmla="*/ 459457 h 3033282"/>
                  <a:gd name="connsiteX246" fmla="*/ 374762 w 3907177"/>
                  <a:gd name="connsiteY246" fmla="*/ 465768 h 3033282"/>
                  <a:gd name="connsiteX247" fmla="*/ 677704 w 3907177"/>
                  <a:gd name="connsiteY247" fmla="*/ 528878 h 3033282"/>
                  <a:gd name="connsiteX248" fmla="*/ 1090040 w 3907177"/>
                  <a:gd name="connsiteY248" fmla="*/ 713999 h 3033282"/>
                  <a:gd name="connsiteX249" fmla="*/ 736609 w 3907177"/>
                  <a:gd name="connsiteY249" fmla="*/ 514152 h 3033282"/>
                  <a:gd name="connsiteX250" fmla="*/ 503092 w 3907177"/>
                  <a:gd name="connsiteY250" fmla="*/ 423695 h 3033282"/>
                  <a:gd name="connsiteX251" fmla="*/ 700845 w 3907177"/>
                  <a:gd name="connsiteY251" fmla="*/ 246989 h 3033282"/>
                  <a:gd name="connsiteX252" fmla="*/ 867042 w 3907177"/>
                  <a:gd name="connsiteY252" fmla="*/ 47143 h 3033282"/>
                  <a:gd name="connsiteX253" fmla="*/ 990408 w 3907177"/>
                  <a:gd name="connsiteY253" fmla="*/ 698 h 3033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Lst>
                <a:rect l="l" t="t" r="r" b="b"/>
                <a:pathLst>
                  <a:path w="3907177" h="3033282">
                    <a:moveTo>
                      <a:pt x="3283994" y="2199606"/>
                    </a:moveTo>
                    <a:cubicBezTo>
                      <a:pt x="3260886" y="2199606"/>
                      <a:pt x="3239879" y="2208029"/>
                      <a:pt x="3216771" y="2237508"/>
                    </a:cubicBezTo>
                    <a:cubicBezTo>
                      <a:pt x="3206268" y="2252247"/>
                      <a:pt x="3191038" y="2271198"/>
                      <a:pt x="3176070" y="2287254"/>
                    </a:cubicBezTo>
                    <a:lnTo>
                      <a:pt x="3157902" y="2304911"/>
                    </a:lnTo>
                    <a:lnTo>
                      <a:pt x="3148728" y="2311436"/>
                    </a:lnTo>
                    <a:cubicBezTo>
                      <a:pt x="3141540" y="2316470"/>
                      <a:pt x="3136944" y="2319628"/>
                      <a:pt x="3136944" y="2319628"/>
                    </a:cubicBezTo>
                    <a:cubicBezTo>
                      <a:pt x="3141671" y="2318049"/>
                      <a:pt x="3147710" y="2313969"/>
                      <a:pt x="3154439" y="2308277"/>
                    </a:cubicBezTo>
                    <a:lnTo>
                      <a:pt x="3157902" y="2304911"/>
                    </a:lnTo>
                    <a:lnTo>
                      <a:pt x="3176070" y="2291992"/>
                    </a:lnTo>
                    <a:cubicBezTo>
                      <a:pt x="3196815" y="2276989"/>
                      <a:pt x="3219922" y="2259617"/>
                      <a:pt x="3229375" y="2250142"/>
                    </a:cubicBezTo>
                    <a:cubicBezTo>
                      <a:pt x="3248282" y="2231191"/>
                      <a:pt x="3283994" y="2231191"/>
                      <a:pt x="3317605" y="2231191"/>
                    </a:cubicBezTo>
                    <a:cubicBezTo>
                      <a:pt x="3341238" y="2231191"/>
                      <a:pt x="3367234" y="2240666"/>
                      <a:pt x="3378755" y="2245404"/>
                    </a:cubicBezTo>
                    <a:lnTo>
                      <a:pt x="3382808" y="2247161"/>
                    </a:lnTo>
                    <a:lnTo>
                      <a:pt x="3351550" y="2248260"/>
                    </a:lnTo>
                    <a:cubicBezTo>
                      <a:pt x="3337425" y="2251320"/>
                      <a:pt x="3324650" y="2257505"/>
                      <a:pt x="3315694" y="2268558"/>
                    </a:cubicBezTo>
                    <a:cubicBezTo>
                      <a:pt x="3281978" y="2310668"/>
                      <a:pt x="3267228" y="2335934"/>
                      <a:pt x="3248262" y="2369622"/>
                    </a:cubicBezTo>
                    <a:cubicBezTo>
                      <a:pt x="3229297" y="2403310"/>
                      <a:pt x="3195581" y="2443314"/>
                      <a:pt x="3195581" y="2443314"/>
                    </a:cubicBezTo>
                    <a:cubicBezTo>
                      <a:pt x="3195581" y="2443314"/>
                      <a:pt x="3273549" y="2363305"/>
                      <a:pt x="3288300" y="2346462"/>
                    </a:cubicBezTo>
                    <a:cubicBezTo>
                      <a:pt x="3303051" y="2327512"/>
                      <a:pt x="3309372" y="2312774"/>
                      <a:pt x="3334660" y="2295930"/>
                    </a:cubicBezTo>
                    <a:cubicBezTo>
                      <a:pt x="3357839" y="2279086"/>
                      <a:pt x="3381019" y="2279086"/>
                      <a:pt x="3404199" y="2281191"/>
                    </a:cubicBezTo>
                    <a:cubicBezTo>
                      <a:pt x="3427378" y="2283297"/>
                      <a:pt x="3442129" y="2291719"/>
                      <a:pt x="3442129" y="2291719"/>
                    </a:cubicBezTo>
                    <a:lnTo>
                      <a:pt x="3448451" y="2258031"/>
                    </a:lnTo>
                    <a:cubicBezTo>
                      <a:pt x="3448451" y="2258031"/>
                      <a:pt x="3442393" y="2255926"/>
                      <a:pt x="3432746" y="2253458"/>
                    </a:cubicBezTo>
                    <a:lnTo>
                      <a:pt x="3399309" y="2247403"/>
                    </a:lnTo>
                    <a:lnTo>
                      <a:pt x="3406885" y="2246720"/>
                    </a:lnTo>
                    <a:cubicBezTo>
                      <a:pt x="3417388" y="2244878"/>
                      <a:pt x="3426842" y="2240666"/>
                      <a:pt x="3422640" y="2231191"/>
                    </a:cubicBezTo>
                    <a:cubicBezTo>
                      <a:pt x="3412137" y="2214346"/>
                      <a:pt x="3391130" y="2216451"/>
                      <a:pt x="3370122" y="2208029"/>
                    </a:cubicBezTo>
                    <a:cubicBezTo>
                      <a:pt x="3349115" y="2201712"/>
                      <a:pt x="3309202" y="2199606"/>
                      <a:pt x="3283994" y="2199606"/>
                    </a:cubicBezTo>
                    <a:close/>
                    <a:moveTo>
                      <a:pt x="3868985" y="2136388"/>
                    </a:moveTo>
                    <a:cubicBezTo>
                      <a:pt x="3868985" y="2136388"/>
                      <a:pt x="3778558" y="2193138"/>
                      <a:pt x="3734396" y="2199444"/>
                    </a:cubicBezTo>
                    <a:cubicBezTo>
                      <a:pt x="3690235" y="2205750"/>
                      <a:pt x="3646073" y="2235176"/>
                      <a:pt x="3559852" y="2182629"/>
                    </a:cubicBezTo>
                    <a:cubicBezTo>
                      <a:pt x="3555646" y="2180527"/>
                      <a:pt x="3604014" y="2239379"/>
                      <a:pt x="3641867" y="2241481"/>
                    </a:cubicBezTo>
                    <a:cubicBezTo>
                      <a:pt x="3681823" y="2243583"/>
                      <a:pt x="3702852" y="2239379"/>
                      <a:pt x="3702852" y="2239379"/>
                    </a:cubicBezTo>
                    <a:cubicBezTo>
                      <a:pt x="3784867" y="2228870"/>
                      <a:pt x="3820617" y="2188935"/>
                      <a:pt x="3831132" y="2178425"/>
                    </a:cubicBezTo>
                    <a:cubicBezTo>
                      <a:pt x="3843750" y="2170018"/>
                      <a:pt x="3868985" y="2136388"/>
                      <a:pt x="3868985" y="2136388"/>
                    </a:cubicBezTo>
                    <a:close/>
                    <a:moveTo>
                      <a:pt x="3385344" y="2089937"/>
                    </a:moveTo>
                    <a:cubicBezTo>
                      <a:pt x="3391674" y="2089411"/>
                      <a:pt x="3398532" y="2089937"/>
                      <a:pt x="3403807" y="2092045"/>
                    </a:cubicBezTo>
                    <a:cubicBezTo>
                      <a:pt x="3412247" y="2096259"/>
                      <a:pt x="3418577" y="2104688"/>
                      <a:pt x="3420687" y="2119439"/>
                    </a:cubicBezTo>
                    <a:cubicBezTo>
                      <a:pt x="3422797" y="2132083"/>
                      <a:pt x="3410137" y="2151048"/>
                      <a:pt x="3410137" y="2151048"/>
                    </a:cubicBezTo>
                    <a:cubicBezTo>
                      <a:pt x="3410137" y="2151048"/>
                      <a:pt x="3389037" y="2144726"/>
                      <a:pt x="3380596" y="2144726"/>
                    </a:cubicBezTo>
                    <a:cubicBezTo>
                      <a:pt x="3374266" y="2142619"/>
                      <a:pt x="3353166" y="2146834"/>
                      <a:pt x="3353166" y="2146834"/>
                    </a:cubicBezTo>
                    <a:lnTo>
                      <a:pt x="3353166" y="2113117"/>
                    </a:lnTo>
                    <a:cubicBezTo>
                      <a:pt x="3353166" y="2113117"/>
                      <a:pt x="3365826" y="2096259"/>
                      <a:pt x="3370046" y="2094152"/>
                    </a:cubicBezTo>
                    <a:cubicBezTo>
                      <a:pt x="3373211" y="2092045"/>
                      <a:pt x="3379014" y="2090464"/>
                      <a:pt x="3385344" y="2089937"/>
                    </a:cubicBezTo>
                    <a:close/>
                    <a:moveTo>
                      <a:pt x="2921466" y="1940074"/>
                    </a:moveTo>
                    <a:cubicBezTo>
                      <a:pt x="2903875" y="1940863"/>
                      <a:pt x="2886546" y="1942966"/>
                      <a:pt x="2876044" y="1945069"/>
                    </a:cubicBezTo>
                    <a:cubicBezTo>
                      <a:pt x="2857140" y="1951377"/>
                      <a:pt x="2819332" y="1968200"/>
                      <a:pt x="2796228" y="1980818"/>
                    </a:cubicBezTo>
                    <a:cubicBezTo>
                      <a:pt x="2773123" y="1995538"/>
                      <a:pt x="2716411" y="2018670"/>
                      <a:pt x="2716411" y="2018670"/>
                    </a:cubicBezTo>
                    <a:cubicBezTo>
                      <a:pt x="2716411" y="2018670"/>
                      <a:pt x="2756319" y="2016567"/>
                      <a:pt x="2773123" y="2014464"/>
                    </a:cubicBezTo>
                    <a:cubicBezTo>
                      <a:pt x="2789926" y="2014464"/>
                      <a:pt x="2813031" y="2008155"/>
                      <a:pt x="2813031" y="2008155"/>
                    </a:cubicBezTo>
                    <a:cubicBezTo>
                      <a:pt x="2813031" y="2008155"/>
                      <a:pt x="2802529" y="2046007"/>
                      <a:pt x="2810931" y="2075448"/>
                    </a:cubicBezTo>
                    <a:cubicBezTo>
                      <a:pt x="2817232" y="2102785"/>
                      <a:pt x="2825634" y="2117505"/>
                      <a:pt x="2825634" y="2117505"/>
                    </a:cubicBezTo>
                    <a:cubicBezTo>
                      <a:pt x="2825634" y="2117505"/>
                      <a:pt x="2825634" y="2119608"/>
                      <a:pt x="2817232" y="2123814"/>
                    </a:cubicBezTo>
                    <a:cubicBezTo>
                      <a:pt x="2810931" y="2125917"/>
                      <a:pt x="2773123" y="2157460"/>
                      <a:pt x="2773123" y="2157460"/>
                    </a:cubicBezTo>
                    <a:cubicBezTo>
                      <a:pt x="2773123" y="2157460"/>
                      <a:pt x="2831935" y="2132226"/>
                      <a:pt x="2848738" y="2125917"/>
                    </a:cubicBezTo>
                    <a:cubicBezTo>
                      <a:pt x="2865542" y="2121711"/>
                      <a:pt x="2901249" y="2113300"/>
                      <a:pt x="2941157" y="2104888"/>
                    </a:cubicBezTo>
                    <a:cubicBezTo>
                      <a:pt x="2981066" y="2096476"/>
                      <a:pt x="3111292" y="2106991"/>
                      <a:pt x="3111292" y="2106991"/>
                    </a:cubicBezTo>
                    <a:cubicBezTo>
                      <a:pt x="3111292" y="2106991"/>
                      <a:pt x="3073484" y="2092271"/>
                      <a:pt x="3056681" y="2085962"/>
                    </a:cubicBezTo>
                    <a:cubicBezTo>
                      <a:pt x="3039878" y="2081756"/>
                      <a:pt x="3016773" y="2081756"/>
                      <a:pt x="3016773" y="2081756"/>
                    </a:cubicBezTo>
                    <a:cubicBezTo>
                      <a:pt x="3016773" y="2081756"/>
                      <a:pt x="3029375" y="2052316"/>
                      <a:pt x="3023074" y="2027081"/>
                    </a:cubicBezTo>
                    <a:cubicBezTo>
                      <a:pt x="3016773" y="1999744"/>
                      <a:pt x="2995769" y="1970303"/>
                      <a:pt x="2995769" y="1970303"/>
                    </a:cubicBezTo>
                    <a:cubicBezTo>
                      <a:pt x="2995769" y="1970303"/>
                      <a:pt x="3002070" y="1966098"/>
                      <a:pt x="3018873" y="1966098"/>
                    </a:cubicBezTo>
                    <a:cubicBezTo>
                      <a:pt x="3035677" y="1963995"/>
                      <a:pt x="3065083" y="1957686"/>
                      <a:pt x="3065083" y="1957686"/>
                    </a:cubicBezTo>
                    <a:cubicBezTo>
                      <a:pt x="3065083" y="1957686"/>
                      <a:pt x="2991568" y="1949274"/>
                      <a:pt x="2968463" y="1942966"/>
                    </a:cubicBezTo>
                    <a:cubicBezTo>
                      <a:pt x="2956910" y="1939811"/>
                      <a:pt x="2939057" y="1939286"/>
                      <a:pt x="2921466" y="1940074"/>
                    </a:cubicBezTo>
                    <a:close/>
                    <a:moveTo>
                      <a:pt x="2882143" y="1689578"/>
                    </a:moveTo>
                    <a:cubicBezTo>
                      <a:pt x="2843731" y="1689315"/>
                      <a:pt x="2800057" y="1691418"/>
                      <a:pt x="2779009" y="1700880"/>
                    </a:cubicBezTo>
                    <a:cubicBezTo>
                      <a:pt x="2736913" y="1717702"/>
                      <a:pt x="2720075" y="1810222"/>
                      <a:pt x="2720075" y="1810222"/>
                    </a:cubicBezTo>
                    <a:cubicBezTo>
                      <a:pt x="2720075" y="1810222"/>
                      <a:pt x="2760066" y="1759756"/>
                      <a:pt x="2806371" y="1730318"/>
                    </a:cubicBezTo>
                    <a:cubicBezTo>
                      <a:pt x="2852676" y="1698777"/>
                      <a:pt x="2953705" y="1692469"/>
                      <a:pt x="2953705" y="1692469"/>
                    </a:cubicBezTo>
                    <a:cubicBezTo>
                      <a:pt x="2953705" y="1692469"/>
                      <a:pt x="2920555" y="1689840"/>
                      <a:pt x="2882143" y="1689578"/>
                    </a:cubicBezTo>
                    <a:close/>
                    <a:moveTo>
                      <a:pt x="2751741" y="1152523"/>
                    </a:moveTo>
                    <a:lnTo>
                      <a:pt x="2752273" y="1154187"/>
                    </a:lnTo>
                    <a:lnTo>
                      <a:pt x="2764036" y="1192874"/>
                    </a:lnTo>
                    <a:lnTo>
                      <a:pt x="2787833" y="1274009"/>
                    </a:lnTo>
                    <a:lnTo>
                      <a:pt x="2819472" y="1283014"/>
                    </a:lnTo>
                    <a:lnTo>
                      <a:pt x="2820261" y="1283258"/>
                    </a:lnTo>
                    <a:lnTo>
                      <a:pt x="2825890" y="1283302"/>
                    </a:lnTo>
                    <a:lnTo>
                      <a:pt x="2903747" y="1291542"/>
                    </a:lnTo>
                    <a:lnTo>
                      <a:pt x="2899550" y="1288295"/>
                    </a:lnTo>
                    <a:cubicBezTo>
                      <a:pt x="2806596" y="1216396"/>
                      <a:pt x="2806596" y="1216396"/>
                      <a:pt x="2806596" y="1216396"/>
                    </a:cubicBezTo>
                    <a:cubicBezTo>
                      <a:pt x="2806596" y="1216396"/>
                      <a:pt x="2794376" y="1202454"/>
                      <a:pt x="2775061" y="1179930"/>
                    </a:cubicBezTo>
                    <a:close/>
                    <a:moveTo>
                      <a:pt x="1695768" y="862876"/>
                    </a:moveTo>
                    <a:cubicBezTo>
                      <a:pt x="2078780" y="919680"/>
                      <a:pt x="2078780" y="919680"/>
                      <a:pt x="2078780" y="919680"/>
                    </a:cubicBezTo>
                    <a:cubicBezTo>
                      <a:pt x="2078780" y="919680"/>
                      <a:pt x="2137705" y="923888"/>
                      <a:pt x="2177689" y="938615"/>
                    </a:cubicBezTo>
                    <a:cubicBezTo>
                      <a:pt x="2217674" y="951238"/>
                      <a:pt x="2274495" y="997523"/>
                      <a:pt x="2274495" y="997523"/>
                    </a:cubicBezTo>
                    <a:cubicBezTo>
                      <a:pt x="2274495" y="997523"/>
                      <a:pt x="2226092" y="984900"/>
                      <a:pt x="2192421" y="984900"/>
                    </a:cubicBezTo>
                    <a:cubicBezTo>
                      <a:pt x="2160854" y="987004"/>
                      <a:pt x="2101929" y="1026977"/>
                      <a:pt x="2082989" y="1031185"/>
                    </a:cubicBezTo>
                    <a:cubicBezTo>
                      <a:pt x="2061944" y="1035392"/>
                      <a:pt x="2013542" y="1064846"/>
                      <a:pt x="2013542" y="1064846"/>
                    </a:cubicBezTo>
                    <a:cubicBezTo>
                      <a:pt x="2013542" y="1064846"/>
                      <a:pt x="2118765" y="1039600"/>
                      <a:pt x="2177689" y="1060639"/>
                    </a:cubicBezTo>
                    <a:cubicBezTo>
                      <a:pt x="2234510" y="1081677"/>
                      <a:pt x="2276599" y="1062742"/>
                      <a:pt x="2320793" y="1102716"/>
                    </a:cubicBezTo>
                    <a:cubicBezTo>
                      <a:pt x="2362882" y="1142689"/>
                      <a:pt x="2402867" y="1193182"/>
                      <a:pt x="2402867" y="1193182"/>
                    </a:cubicBezTo>
                    <a:lnTo>
                      <a:pt x="2477977" y="1304520"/>
                    </a:lnTo>
                    <a:lnTo>
                      <a:pt x="2495231" y="1302276"/>
                    </a:lnTo>
                    <a:lnTo>
                      <a:pt x="2479203" y="1263722"/>
                    </a:lnTo>
                    <a:cubicBezTo>
                      <a:pt x="2435552" y="1159125"/>
                      <a:pt x="2373405" y="1012512"/>
                      <a:pt x="2352360" y="974380"/>
                    </a:cubicBezTo>
                    <a:cubicBezTo>
                      <a:pt x="2320793" y="913369"/>
                      <a:pt x="2238719" y="886019"/>
                      <a:pt x="2194525" y="875499"/>
                    </a:cubicBezTo>
                    <a:cubicBezTo>
                      <a:pt x="2150331" y="862876"/>
                      <a:pt x="1695768" y="862876"/>
                      <a:pt x="1695768" y="862876"/>
                    </a:cubicBezTo>
                    <a:close/>
                    <a:moveTo>
                      <a:pt x="2884074" y="435929"/>
                    </a:moveTo>
                    <a:cubicBezTo>
                      <a:pt x="2884074" y="435929"/>
                      <a:pt x="2919884" y="555927"/>
                      <a:pt x="2987291" y="631716"/>
                    </a:cubicBezTo>
                    <a:cubicBezTo>
                      <a:pt x="3054698" y="705399"/>
                      <a:pt x="3130531" y="1008552"/>
                      <a:pt x="3130531" y="1008552"/>
                    </a:cubicBezTo>
                    <a:cubicBezTo>
                      <a:pt x="3130531" y="1008552"/>
                      <a:pt x="3115786" y="812766"/>
                      <a:pt x="3063124" y="682241"/>
                    </a:cubicBezTo>
                    <a:cubicBezTo>
                      <a:pt x="3063124" y="682241"/>
                      <a:pt x="2993611" y="549612"/>
                      <a:pt x="2970440" y="520138"/>
                    </a:cubicBezTo>
                    <a:cubicBezTo>
                      <a:pt x="2945162" y="490665"/>
                      <a:pt x="2884074" y="435929"/>
                      <a:pt x="2884074" y="435929"/>
                    </a:cubicBezTo>
                    <a:close/>
                    <a:moveTo>
                      <a:pt x="990408" y="698"/>
                    </a:moveTo>
                    <a:cubicBezTo>
                      <a:pt x="1005101" y="-321"/>
                      <a:pt x="1021142" y="-189"/>
                      <a:pt x="1039550" y="863"/>
                    </a:cubicBezTo>
                    <a:cubicBezTo>
                      <a:pt x="1111078" y="5070"/>
                      <a:pt x="1258341" y="38728"/>
                      <a:pt x="1348803" y="72387"/>
                    </a:cubicBezTo>
                    <a:cubicBezTo>
                      <a:pt x="1439264" y="103941"/>
                      <a:pt x="1653848" y="181776"/>
                      <a:pt x="1737998" y="232264"/>
                    </a:cubicBezTo>
                    <a:cubicBezTo>
                      <a:pt x="1830564" y="284855"/>
                      <a:pt x="1914714" y="318513"/>
                      <a:pt x="2005176" y="371104"/>
                    </a:cubicBezTo>
                    <a:cubicBezTo>
                      <a:pt x="2051459" y="397400"/>
                      <a:pt x="2127194" y="436317"/>
                      <a:pt x="2203455" y="477601"/>
                    </a:cubicBezTo>
                    <a:lnTo>
                      <a:pt x="2296994" y="530121"/>
                    </a:lnTo>
                    <a:lnTo>
                      <a:pt x="2323986" y="546882"/>
                    </a:lnTo>
                    <a:lnTo>
                      <a:pt x="2357160" y="567482"/>
                    </a:lnTo>
                    <a:lnTo>
                      <a:pt x="2404890" y="598298"/>
                    </a:lnTo>
                    <a:lnTo>
                      <a:pt x="2415440" y="605928"/>
                    </a:lnTo>
                    <a:lnTo>
                      <a:pt x="2362991" y="493093"/>
                    </a:lnTo>
                    <a:cubicBezTo>
                      <a:pt x="2362991" y="493093"/>
                      <a:pt x="2362991" y="493093"/>
                      <a:pt x="2329266" y="483333"/>
                    </a:cubicBezTo>
                    <a:lnTo>
                      <a:pt x="2307060" y="476906"/>
                    </a:lnTo>
                    <a:lnTo>
                      <a:pt x="2313198" y="470584"/>
                    </a:lnTo>
                    <a:cubicBezTo>
                      <a:pt x="2335494" y="447752"/>
                      <a:pt x="2406858" y="375701"/>
                      <a:pt x="2460566" y="333037"/>
                    </a:cubicBezTo>
                    <a:lnTo>
                      <a:pt x="2482676" y="317005"/>
                    </a:lnTo>
                    <a:lnTo>
                      <a:pt x="2522361" y="296868"/>
                    </a:lnTo>
                    <a:lnTo>
                      <a:pt x="2554579" y="283748"/>
                    </a:lnTo>
                    <a:cubicBezTo>
                      <a:pt x="2588217" y="269017"/>
                      <a:pt x="2633417" y="251656"/>
                      <a:pt x="2694384" y="254812"/>
                    </a:cubicBezTo>
                    <a:cubicBezTo>
                      <a:pt x="2724868" y="256391"/>
                      <a:pt x="2759293" y="263098"/>
                      <a:pt x="2798186" y="277829"/>
                    </a:cubicBezTo>
                    <a:cubicBezTo>
                      <a:pt x="2951656" y="336753"/>
                      <a:pt x="2857052" y="260994"/>
                      <a:pt x="2857052" y="260994"/>
                    </a:cubicBezTo>
                    <a:cubicBezTo>
                      <a:pt x="2857052" y="260994"/>
                      <a:pt x="2858530" y="261224"/>
                      <a:pt x="2861191" y="261705"/>
                    </a:cubicBezTo>
                    <a:lnTo>
                      <a:pt x="2866568" y="262766"/>
                    </a:lnTo>
                    <a:lnTo>
                      <a:pt x="2867847" y="263215"/>
                    </a:lnTo>
                    <a:cubicBezTo>
                      <a:pt x="2872013" y="264887"/>
                      <a:pt x="2874182" y="265939"/>
                      <a:pt x="2874182" y="265939"/>
                    </a:cubicBezTo>
                    <a:cubicBezTo>
                      <a:pt x="2874182" y="265939"/>
                      <a:pt x="2875760" y="265775"/>
                      <a:pt x="2878772" y="265783"/>
                    </a:cubicBezTo>
                    <a:lnTo>
                      <a:pt x="2879970" y="265863"/>
                    </a:lnTo>
                    <a:lnTo>
                      <a:pt x="2909084" y="273357"/>
                    </a:lnTo>
                    <a:cubicBezTo>
                      <a:pt x="2937466" y="282038"/>
                      <a:pt x="2970577" y="295717"/>
                      <a:pt x="2989498" y="315709"/>
                    </a:cubicBezTo>
                    <a:cubicBezTo>
                      <a:pt x="3027340" y="357797"/>
                      <a:pt x="3391043" y="702920"/>
                      <a:pt x="3365815" y="925987"/>
                    </a:cubicBezTo>
                    <a:cubicBezTo>
                      <a:pt x="3351098" y="1060670"/>
                      <a:pt x="3227061" y="1315303"/>
                      <a:pt x="3233368" y="1376331"/>
                    </a:cubicBezTo>
                    <a:cubicBezTo>
                      <a:pt x="3234682" y="1385538"/>
                      <a:pt x="3236920" y="1397159"/>
                      <a:pt x="3239761" y="1410216"/>
                    </a:cubicBezTo>
                    <a:lnTo>
                      <a:pt x="3243622" y="1426604"/>
                    </a:lnTo>
                    <a:lnTo>
                      <a:pt x="3302854" y="1472111"/>
                    </a:lnTo>
                    <a:cubicBezTo>
                      <a:pt x="3370331" y="1532754"/>
                      <a:pt x="3422311" y="1609600"/>
                      <a:pt x="3442037" y="1705090"/>
                    </a:cubicBezTo>
                    <a:lnTo>
                      <a:pt x="3433973" y="1732860"/>
                    </a:lnTo>
                    <a:lnTo>
                      <a:pt x="3404867" y="1673697"/>
                    </a:lnTo>
                    <a:cubicBezTo>
                      <a:pt x="3399074" y="1661664"/>
                      <a:pt x="3393479" y="1649944"/>
                      <a:pt x="3388345" y="1639131"/>
                    </a:cubicBezTo>
                    <a:lnTo>
                      <a:pt x="3377441" y="1616053"/>
                    </a:lnTo>
                    <a:lnTo>
                      <a:pt x="3359581" y="1565598"/>
                    </a:lnTo>
                    <a:cubicBezTo>
                      <a:pt x="3359581" y="1565598"/>
                      <a:pt x="3359581" y="1565598"/>
                      <a:pt x="3361687" y="1582431"/>
                    </a:cubicBezTo>
                    <a:cubicBezTo>
                      <a:pt x="3361687" y="1582431"/>
                      <a:pt x="3366690" y="1593215"/>
                      <a:pt x="3374588" y="1610015"/>
                    </a:cubicBezTo>
                    <a:lnTo>
                      <a:pt x="3377441" y="1616053"/>
                    </a:lnTo>
                    <a:lnTo>
                      <a:pt x="3442901" y="1800978"/>
                    </a:lnTo>
                    <a:lnTo>
                      <a:pt x="3440408" y="1796829"/>
                    </a:lnTo>
                    <a:cubicBezTo>
                      <a:pt x="3438644" y="1793891"/>
                      <a:pt x="3436291" y="1789974"/>
                      <a:pt x="3433154" y="1784752"/>
                    </a:cubicBezTo>
                    <a:cubicBezTo>
                      <a:pt x="3433154" y="1784752"/>
                      <a:pt x="3414332" y="1768041"/>
                      <a:pt x="3397602" y="1761774"/>
                    </a:cubicBezTo>
                    <a:cubicBezTo>
                      <a:pt x="3380871" y="1753418"/>
                      <a:pt x="3349501" y="1755507"/>
                      <a:pt x="3349501" y="1755507"/>
                    </a:cubicBezTo>
                    <a:cubicBezTo>
                      <a:pt x="3349501" y="1755507"/>
                      <a:pt x="3380871" y="1768041"/>
                      <a:pt x="3395510" y="1772218"/>
                    </a:cubicBezTo>
                    <a:cubicBezTo>
                      <a:pt x="3406489" y="1773785"/>
                      <a:pt x="3429233" y="1791802"/>
                      <a:pt x="3439918" y="1800713"/>
                    </a:cubicBezTo>
                    <a:lnTo>
                      <a:pt x="3444055" y="1804238"/>
                    </a:lnTo>
                    <a:lnTo>
                      <a:pt x="3555468" y="2118980"/>
                    </a:lnTo>
                    <a:cubicBezTo>
                      <a:pt x="3555468" y="2118980"/>
                      <a:pt x="3553888" y="2108460"/>
                      <a:pt x="3553362" y="2091890"/>
                    </a:cubicBezTo>
                    <a:lnTo>
                      <a:pt x="3553487" y="2080908"/>
                    </a:lnTo>
                    <a:lnTo>
                      <a:pt x="3554536" y="2083695"/>
                    </a:lnTo>
                    <a:cubicBezTo>
                      <a:pt x="3566426" y="2115277"/>
                      <a:pt x="3569399" y="2123172"/>
                      <a:pt x="3570142" y="2125146"/>
                    </a:cubicBezTo>
                    <a:lnTo>
                      <a:pt x="3570375" y="2125765"/>
                    </a:lnTo>
                    <a:lnTo>
                      <a:pt x="3570326" y="2125774"/>
                    </a:lnTo>
                    <a:cubicBezTo>
                      <a:pt x="3545075" y="2130508"/>
                      <a:pt x="3536395" y="2124591"/>
                      <a:pt x="3524755" y="2128437"/>
                    </a:cubicBezTo>
                    <a:lnTo>
                      <a:pt x="3520991" y="2130652"/>
                    </a:lnTo>
                    <a:lnTo>
                      <a:pt x="3519898" y="2125754"/>
                    </a:lnTo>
                    <a:cubicBezTo>
                      <a:pt x="3517794" y="2116808"/>
                      <a:pt x="3515165" y="2106809"/>
                      <a:pt x="3513061" y="2102599"/>
                    </a:cubicBezTo>
                    <a:cubicBezTo>
                      <a:pt x="3510958" y="2096283"/>
                      <a:pt x="3498337" y="2064707"/>
                      <a:pt x="3485716" y="2058392"/>
                    </a:cubicBezTo>
                    <a:cubicBezTo>
                      <a:pt x="3475198" y="2052077"/>
                      <a:pt x="3435232" y="2037341"/>
                      <a:pt x="3422611" y="2039446"/>
                    </a:cubicBezTo>
                    <a:cubicBezTo>
                      <a:pt x="3409989" y="2039446"/>
                      <a:pt x="3397368" y="2045762"/>
                      <a:pt x="3384747" y="2043657"/>
                    </a:cubicBezTo>
                    <a:cubicBezTo>
                      <a:pt x="3372126" y="2041551"/>
                      <a:pt x="3334263" y="2031026"/>
                      <a:pt x="3334263" y="2031026"/>
                    </a:cubicBezTo>
                    <a:cubicBezTo>
                      <a:pt x="3378437" y="2058392"/>
                      <a:pt x="3378437" y="2058392"/>
                      <a:pt x="3378437" y="2058392"/>
                    </a:cubicBezTo>
                    <a:cubicBezTo>
                      <a:pt x="3378437" y="2058392"/>
                      <a:pt x="3359505" y="2079443"/>
                      <a:pt x="3357402" y="2092073"/>
                    </a:cubicBezTo>
                    <a:cubicBezTo>
                      <a:pt x="3348988" y="2111019"/>
                      <a:pt x="3351091" y="2140490"/>
                      <a:pt x="3351091" y="2140490"/>
                    </a:cubicBezTo>
                    <a:cubicBezTo>
                      <a:pt x="3317435" y="2140490"/>
                      <a:pt x="3317435" y="2140490"/>
                      <a:pt x="3317435" y="2140490"/>
                    </a:cubicBezTo>
                    <a:cubicBezTo>
                      <a:pt x="3317435" y="2140490"/>
                      <a:pt x="3348988" y="2148910"/>
                      <a:pt x="3359505" y="2155225"/>
                    </a:cubicBezTo>
                    <a:cubicBezTo>
                      <a:pt x="3370023" y="2161541"/>
                      <a:pt x="3395265" y="2172066"/>
                      <a:pt x="3416300" y="2180486"/>
                    </a:cubicBezTo>
                    <a:cubicBezTo>
                      <a:pt x="3432076" y="2186801"/>
                      <a:pt x="3457318" y="2199037"/>
                      <a:pt x="3468953" y="2204760"/>
                    </a:cubicBezTo>
                    <a:lnTo>
                      <a:pt x="3471183" y="2205864"/>
                    </a:lnTo>
                    <a:lnTo>
                      <a:pt x="3465112" y="2222558"/>
                    </a:lnTo>
                    <a:cubicBezTo>
                      <a:pt x="3458799" y="2247805"/>
                      <a:pt x="3418818" y="2359317"/>
                      <a:pt x="3404088" y="2397188"/>
                    </a:cubicBezTo>
                    <a:cubicBezTo>
                      <a:pt x="3389358" y="2435060"/>
                      <a:pt x="3303083" y="2544467"/>
                      <a:pt x="3303083" y="2544467"/>
                    </a:cubicBezTo>
                    <a:cubicBezTo>
                      <a:pt x="3303083" y="2544467"/>
                      <a:pt x="3383045" y="2468724"/>
                      <a:pt x="3395671" y="2456100"/>
                    </a:cubicBezTo>
                    <a:cubicBezTo>
                      <a:pt x="3410401" y="2443476"/>
                      <a:pt x="3429339" y="2411916"/>
                      <a:pt x="3450382" y="2386668"/>
                    </a:cubicBezTo>
                    <a:cubicBezTo>
                      <a:pt x="3469321" y="2363525"/>
                      <a:pt x="3515615" y="2209934"/>
                      <a:pt x="3526136" y="2184686"/>
                    </a:cubicBezTo>
                    <a:cubicBezTo>
                      <a:pt x="3538762" y="2157334"/>
                      <a:pt x="3574535" y="2159438"/>
                      <a:pt x="3618725" y="2163646"/>
                    </a:cubicBezTo>
                    <a:cubicBezTo>
                      <a:pt x="3665019" y="2167854"/>
                      <a:pt x="3707104" y="2155230"/>
                      <a:pt x="3751294" y="2136294"/>
                    </a:cubicBezTo>
                    <a:cubicBezTo>
                      <a:pt x="3772337" y="2126826"/>
                      <a:pt x="3786015" y="2113676"/>
                      <a:pt x="3799430" y="2104735"/>
                    </a:cubicBezTo>
                    <a:lnTo>
                      <a:pt x="3810437" y="2099831"/>
                    </a:lnTo>
                    <a:lnTo>
                      <a:pt x="3824461" y="2097367"/>
                    </a:lnTo>
                    <a:lnTo>
                      <a:pt x="3829342" y="2096510"/>
                    </a:lnTo>
                    <a:lnTo>
                      <a:pt x="3845987" y="2098423"/>
                    </a:lnTo>
                    <a:cubicBezTo>
                      <a:pt x="3885968" y="2111046"/>
                      <a:pt x="3894385" y="2134190"/>
                      <a:pt x="3904907" y="2180478"/>
                    </a:cubicBezTo>
                    <a:cubicBezTo>
                      <a:pt x="3915428" y="2226766"/>
                      <a:pt x="3885968" y="2315133"/>
                      <a:pt x="3885968" y="2315133"/>
                    </a:cubicBezTo>
                    <a:cubicBezTo>
                      <a:pt x="3885968" y="2315133"/>
                      <a:pt x="3885508" y="2319834"/>
                      <a:pt x="3884225" y="2328571"/>
                    </a:cubicBezTo>
                    <a:lnTo>
                      <a:pt x="3881324" y="2344937"/>
                    </a:lnTo>
                    <a:lnTo>
                      <a:pt x="3878738" y="2354578"/>
                    </a:lnTo>
                    <a:cubicBezTo>
                      <a:pt x="3870987" y="2383473"/>
                      <a:pt x="3863790" y="2410304"/>
                      <a:pt x="3857107" y="2435219"/>
                    </a:cubicBezTo>
                    <a:lnTo>
                      <a:pt x="3839183" y="2502042"/>
                    </a:lnTo>
                    <a:lnTo>
                      <a:pt x="3806236" y="2584501"/>
                    </a:lnTo>
                    <a:cubicBezTo>
                      <a:pt x="3765301" y="2675605"/>
                      <a:pt x="3703948" y="2779062"/>
                      <a:pt x="3612412" y="2876897"/>
                    </a:cubicBezTo>
                    <a:cubicBezTo>
                      <a:pt x="3370419" y="3137791"/>
                      <a:pt x="3046360" y="2935809"/>
                      <a:pt x="3004275" y="2912665"/>
                    </a:cubicBezTo>
                    <a:cubicBezTo>
                      <a:pt x="2962189" y="2889521"/>
                      <a:pt x="2852767" y="2792738"/>
                      <a:pt x="2812785" y="2759074"/>
                    </a:cubicBezTo>
                    <a:cubicBezTo>
                      <a:pt x="2770700" y="2725410"/>
                      <a:pt x="2726510" y="2651771"/>
                      <a:pt x="2726510" y="2651771"/>
                    </a:cubicBezTo>
                    <a:cubicBezTo>
                      <a:pt x="2726510" y="2651771"/>
                      <a:pt x="2724406" y="2649667"/>
                      <a:pt x="2722301" y="2655979"/>
                    </a:cubicBezTo>
                    <a:cubicBezTo>
                      <a:pt x="2720197" y="2662291"/>
                      <a:pt x="2699154" y="2727514"/>
                      <a:pt x="2686529" y="2750658"/>
                    </a:cubicBezTo>
                    <a:cubicBezTo>
                      <a:pt x="2676007" y="2771698"/>
                      <a:pt x="2661277" y="2782218"/>
                      <a:pt x="2646547" y="2799050"/>
                    </a:cubicBezTo>
                    <a:cubicBezTo>
                      <a:pt x="2633922" y="2817986"/>
                      <a:pt x="2612879" y="2845337"/>
                      <a:pt x="2593940" y="2887417"/>
                    </a:cubicBezTo>
                    <a:cubicBezTo>
                      <a:pt x="2575002" y="2929497"/>
                      <a:pt x="2606566" y="2963160"/>
                      <a:pt x="2606566" y="2963160"/>
                    </a:cubicBezTo>
                    <a:cubicBezTo>
                      <a:pt x="2627609" y="2988408"/>
                      <a:pt x="2697050" y="3005240"/>
                      <a:pt x="2724406" y="3001032"/>
                    </a:cubicBezTo>
                    <a:cubicBezTo>
                      <a:pt x="2654964" y="2986304"/>
                      <a:pt x="2614983" y="2916873"/>
                      <a:pt x="2614983" y="2916873"/>
                    </a:cubicBezTo>
                    <a:cubicBezTo>
                      <a:pt x="2614983" y="2916873"/>
                      <a:pt x="2614983" y="2916873"/>
                      <a:pt x="2636026" y="2931601"/>
                    </a:cubicBezTo>
                    <a:cubicBezTo>
                      <a:pt x="2654964" y="2946329"/>
                      <a:pt x="2688633" y="2969472"/>
                      <a:pt x="2741240" y="2975784"/>
                    </a:cubicBezTo>
                    <a:cubicBezTo>
                      <a:pt x="2793847" y="2982096"/>
                      <a:pt x="2823307" y="2935809"/>
                      <a:pt x="2823307" y="2935809"/>
                    </a:cubicBezTo>
                    <a:cubicBezTo>
                      <a:pt x="2823307" y="2935809"/>
                      <a:pt x="2823307" y="2935809"/>
                      <a:pt x="2869601" y="2874793"/>
                    </a:cubicBezTo>
                    <a:cubicBezTo>
                      <a:pt x="2869601" y="2874793"/>
                      <a:pt x="2869601" y="2874793"/>
                      <a:pt x="2909582" y="2914769"/>
                    </a:cubicBezTo>
                    <a:cubicBezTo>
                      <a:pt x="2909582" y="2914769"/>
                      <a:pt x="2838037" y="2988408"/>
                      <a:pt x="2804368" y="3009448"/>
                    </a:cubicBezTo>
                    <a:cubicBezTo>
                      <a:pt x="2770700" y="3030488"/>
                      <a:pt x="2715988" y="3045216"/>
                      <a:pt x="2631817" y="3019968"/>
                    </a:cubicBezTo>
                    <a:lnTo>
                      <a:pt x="2592812" y="2997729"/>
                    </a:lnTo>
                    <a:lnTo>
                      <a:pt x="2571463" y="2978979"/>
                    </a:lnTo>
                    <a:lnTo>
                      <a:pt x="2569646" y="2977384"/>
                    </a:lnTo>
                    <a:lnTo>
                      <a:pt x="2550477" y="2953365"/>
                    </a:lnTo>
                    <a:lnTo>
                      <a:pt x="2543509" y="2942341"/>
                    </a:lnTo>
                    <a:lnTo>
                      <a:pt x="2527951" y="2910199"/>
                    </a:lnTo>
                    <a:cubicBezTo>
                      <a:pt x="2524104" y="2900173"/>
                      <a:pt x="2522395" y="2893729"/>
                      <a:pt x="2522395" y="2893729"/>
                    </a:cubicBezTo>
                    <a:cubicBezTo>
                      <a:pt x="2522395" y="2893729"/>
                      <a:pt x="2522395" y="2893729"/>
                      <a:pt x="2457162" y="2748554"/>
                    </a:cubicBezTo>
                    <a:cubicBezTo>
                      <a:pt x="2457162" y="2748554"/>
                      <a:pt x="2396138" y="2689642"/>
                      <a:pt x="2362469" y="2651771"/>
                    </a:cubicBezTo>
                    <a:lnTo>
                      <a:pt x="2340024" y="2621933"/>
                    </a:lnTo>
                    <a:lnTo>
                      <a:pt x="2338457" y="2619477"/>
                    </a:lnTo>
                    <a:cubicBezTo>
                      <a:pt x="2304048" y="2565541"/>
                      <a:pt x="2304048" y="2565541"/>
                      <a:pt x="2304048" y="2565541"/>
                    </a:cubicBezTo>
                    <a:cubicBezTo>
                      <a:pt x="2304048" y="2565541"/>
                      <a:pt x="2271838" y="2433449"/>
                      <a:pt x="2335655" y="2318674"/>
                    </a:cubicBezTo>
                    <a:lnTo>
                      <a:pt x="2366996" y="2274192"/>
                    </a:lnTo>
                    <a:lnTo>
                      <a:pt x="2347572" y="2275513"/>
                    </a:lnTo>
                    <a:cubicBezTo>
                      <a:pt x="2338243" y="2274970"/>
                      <a:pt x="2329202" y="2273030"/>
                      <a:pt x="2320522" y="2269084"/>
                    </a:cubicBezTo>
                    <a:cubicBezTo>
                      <a:pt x="2253189" y="2237517"/>
                      <a:pt x="2057503" y="2182801"/>
                      <a:pt x="2038565" y="2062847"/>
                    </a:cubicBezTo>
                    <a:cubicBezTo>
                      <a:pt x="2024363" y="1972882"/>
                      <a:pt x="2014894" y="1779929"/>
                      <a:pt x="2043892" y="1618938"/>
                    </a:cubicBezTo>
                    <a:lnTo>
                      <a:pt x="2058099" y="1557525"/>
                    </a:lnTo>
                    <a:lnTo>
                      <a:pt x="2055755" y="1558228"/>
                    </a:lnTo>
                    <a:lnTo>
                      <a:pt x="2050316" y="1559430"/>
                    </a:lnTo>
                    <a:cubicBezTo>
                      <a:pt x="1969609" y="1577348"/>
                      <a:pt x="1639648" y="1651436"/>
                      <a:pt x="1525518" y="1690090"/>
                    </a:cubicBezTo>
                    <a:cubicBezTo>
                      <a:pt x="1395085" y="1734267"/>
                      <a:pt x="1087937" y="1875211"/>
                      <a:pt x="946985" y="1875211"/>
                    </a:cubicBezTo>
                    <a:cubicBezTo>
                      <a:pt x="751335" y="1873108"/>
                      <a:pt x="559893" y="1858382"/>
                      <a:pt x="559893" y="1858382"/>
                    </a:cubicBezTo>
                    <a:cubicBezTo>
                      <a:pt x="559893" y="1858382"/>
                      <a:pt x="488365" y="1593323"/>
                      <a:pt x="412630" y="1498659"/>
                    </a:cubicBezTo>
                    <a:cubicBezTo>
                      <a:pt x="334791" y="1403995"/>
                      <a:pt x="94962" y="1208355"/>
                      <a:pt x="46576" y="1063204"/>
                    </a:cubicBezTo>
                    <a:cubicBezTo>
                      <a:pt x="293" y="915949"/>
                      <a:pt x="-24952" y="798144"/>
                      <a:pt x="36057" y="665615"/>
                    </a:cubicBezTo>
                    <a:cubicBezTo>
                      <a:pt x="94962" y="535189"/>
                      <a:pt x="191735" y="459457"/>
                      <a:pt x="191735" y="459457"/>
                    </a:cubicBezTo>
                    <a:cubicBezTo>
                      <a:pt x="191735" y="459457"/>
                      <a:pt x="294819" y="455250"/>
                      <a:pt x="374762" y="465768"/>
                    </a:cubicBezTo>
                    <a:cubicBezTo>
                      <a:pt x="456809" y="476287"/>
                      <a:pt x="587242" y="499427"/>
                      <a:pt x="677704" y="528878"/>
                    </a:cubicBezTo>
                    <a:cubicBezTo>
                      <a:pt x="766061" y="558329"/>
                      <a:pt x="1090040" y="713999"/>
                      <a:pt x="1090040" y="713999"/>
                    </a:cubicBezTo>
                    <a:cubicBezTo>
                      <a:pt x="736609" y="514152"/>
                      <a:pt x="736609" y="514152"/>
                      <a:pt x="736609" y="514152"/>
                    </a:cubicBezTo>
                    <a:cubicBezTo>
                      <a:pt x="503092" y="423695"/>
                      <a:pt x="503092" y="423695"/>
                      <a:pt x="503092" y="423695"/>
                    </a:cubicBezTo>
                    <a:cubicBezTo>
                      <a:pt x="503092" y="423695"/>
                      <a:pt x="606176" y="362690"/>
                      <a:pt x="700845" y="246989"/>
                    </a:cubicBezTo>
                    <a:cubicBezTo>
                      <a:pt x="795514" y="131289"/>
                      <a:pt x="803929" y="89216"/>
                      <a:pt x="867042" y="47143"/>
                    </a:cubicBezTo>
                    <a:cubicBezTo>
                      <a:pt x="914377" y="17166"/>
                      <a:pt x="946327" y="3755"/>
                      <a:pt x="990408" y="698"/>
                    </a:cubicBezTo>
                    <a:close/>
                  </a:path>
                </a:pathLst>
              </a:custGeom>
              <a:solidFill>
                <a:srgbClr val="FAED22"/>
              </a:solidFill>
              <a:ln w="3175">
                <a:solidFill>
                  <a:schemeClr val="tx1"/>
                </a:solidFill>
              </a:ln>
            </p:spPr>
            <p:txBody>
              <a:bodyPr vert="horz" wrap="square" lIns="89642" tIns="44821" rIns="89642" bIns="44821" numCol="1" anchor="t" anchorCtr="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000000"/>
                  </a:solidFill>
                  <a:effectLst/>
                  <a:uLnTx/>
                  <a:uFillTx/>
                </a:endParaRPr>
              </a:p>
            </p:txBody>
          </p:sp>
        </p:grpSp>
      </p:grpSp>
    </p:spTree>
    <p:extLst>
      <p:ext uri="{BB962C8B-B14F-4D97-AF65-F5344CB8AC3E}">
        <p14:creationId xmlns:p14="http://schemas.microsoft.com/office/powerpoint/2010/main" val="525965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ive Client Tools</a:t>
            </a:r>
          </a:p>
        </p:txBody>
      </p:sp>
      <p:sp>
        <p:nvSpPr>
          <p:cNvPr id="3" name="Text Placeholder 2"/>
          <p:cNvSpPr>
            <a:spLocks noGrp="1"/>
          </p:cNvSpPr>
          <p:nvPr>
            <p:ph type="body" sz="quarter" idx="10"/>
          </p:nvPr>
        </p:nvSpPr>
        <p:spPr>
          <a:xfrm>
            <a:off x="274638" y="1212850"/>
            <a:ext cx="11887200" cy="1415772"/>
          </a:xfrm>
        </p:spPr>
        <p:txBody>
          <a:bodyPr/>
          <a:lstStyle/>
          <a:p>
            <a:pPr marL="571500" indent="-571500">
              <a:buFont typeface="Arial" panose="020B0604020202020204" pitchFamily="34" charset="0"/>
              <a:buChar char="•"/>
            </a:pPr>
            <a:r>
              <a:rPr lang="en-US" dirty="0"/>
              <a:t>You can submit Hive Jobs using many different tools</a:t>
            </a:r>
          </a:p>
          <a:p>
            <a:pPr marL="571500" indent="-571500">
              <a:buFont typeface="Arial" panose="020B0604020202020204" pitchFamily="34" charset="0"/>
              <a:buChar char="•"/>
            </a:pPr>
            <a:endParaRPr lang="en-US" dirty="0"/>
          </a:p>
        </p:txBody>
      </p:sp>
      <p:pic>
        <p:nvPicPr>
          <p:cNvPr id="5" name="Picture 4"/>
          <p:cNvPicPr>
            <a:picLocks noChangeAspect="1"/>
          </p:cNvPicPr>
          <p:nvPr/>
        </p:nvPicPr>
        <p:blipFill>
          <a:blip r:embed="rId3"/>
          <a:stretch>
            <a:fillRect/>
          </a:stretch>
        </p:blipFill>
        <p:spPr>
          <a:xfrm>
            <a:off x="1507379" y="1920736"/>
            <a:ext cx="9421718" cy="4389152"/>
          </a:xfrm>
          <a:prstGeom prst="rect">
            <a:avLst/>
          </a:prstGeom>
        </p:spPr>
      </p:pic>
    </p:spTree>
    <p:extLst>
      <p:ext uri="{BB962C8B-B14F-4D97-AF65-F5344CB8AC3E}">
        <p14:creationId xmlns:p14="http://schemas.microsoft.com/office/powerpoint/2010/main" val="3220472306"/>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Create, load, and query Hive tables</a:t>
            </a:r>
          </a:p>
        </p:txBody>
      </p:sp>
      <p:sp>
        <p:nvSpPr>
          <p:cNvPr id="35" name="Title 2"/>
          <p:cNvSpPr txBox="1">
            <a:spLocks/>
          </p:cNvSpPr>
          <p:nvPr/>
        </p:nvSpPr>
        <p:spPr bwMode="ltGray">
          <a:xfrm>
            <a:off x="274640" y="1570636"/>
            <a:ext cx="4683752" cy="4898441"/>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326473" tIns="886140" rIns="274320" bIns="886140" numCol="1" rtlCol="0" anchor="ctr" anchorCtr="0" compatLnSpc="1">
            <a:prstTxWarp prst="textNoShape">
              <a:avLst/>
            </a:prstTxWarp>
            <a:noAutofit/>
          </a:bodyPr>
          <a:lstStyle>
            <a:lvl1pPr algn="l" defTabSz="932742" rtl="0" eaLnBrk="1" latinLnBrk="0" hangingPunct="1">
              <a:lnSpc>
                <a:spcPct val="90000"/>
              </a:lnSpc>
              <a:spcBef>
                <a:spcPct val="0"/>
              </a:spcBef>
              <a:buNone/>
              <a:defRPr lang="en-US" sz="6000" b="0" kern="1200" cap="none" spc="-204" baseline="0" dirty="0">
                <a:ln w="3175">
                  <a:noFill/>
                </a:ln>
                <a:gradFill>
                  <a:gsLst>
                    <a:gs pos="100000">
                      <a:schemeClr val="bg1"/>
                    </a:gs>
                    <a:gs pos="0">
                      <a:schemeClr val="bg1"/>
                    </a:gs>
                  </a:gsLst>
                  <a:lin ang="5400000" scaled="0"/>
                </a:gradFill>
                <a:effectLst/>
                <a:latin typeface="+mj-lt"/>
                <a:ea typeface="+mn-ea"/>
                <a:cs typeface="Arial" charset="0"/>
              </a:defRPr>
            </a:lvl1pPr>
          </a:lstStyle>
          <a:p>
            <a:pPr marL="0" marR="0" lvl="0" indent="0" algn="l" defTabSz="932742" rtl="0" eaLnBrk="1" fontAlgn="auto" latinLnBrk="0" hangingPunct="1">
              <a:lnSpc>
                <a:spcPct val="90000"/>
              </a:lnSpc>
              <a:spcBef>
                <a:spcPct val="0"/>
              </a:spcBef>
              <a:spcAft>
                <a:spcPts val="600"/>
              </a:spcAft>
              <a:buClrTx/>
              <a:buSzTx/>
              <a:buFontTx/>
              <a:buNone/>
              <a:tabLst/>
              <a:defRPr/>
            </a:pPr>
            <a:r>
              <a:rPr kumimoji="0" lang="en-US" sz="2400" b="0" i="0" u="none" strike="noStrike" kern="0" cap="none" spc="0" normalizeH="0" baseline="0" noProof="0" dirty="0">
                <a:ln w="3175">
                  <a:noFill/>
                </a:ln>
                <a:solidFill>
                  <a:srgbClr val="FFFFFF"/>
                </a:solidFill>
                <a:effectLst/>
                <a:uLnTx/>
                <a:uFillTx/>
                <a:latin typeface="Segoe UI Light"/>
                <a:ea typeface="+mn-ea"/>
                <a:cs typeface="Arial" charset="0"/>
              </a:rPr>
              <a:t>HiveQL includes data definition language, data import/export and data manipulation language statements</a:t>
            </a:r>
          </a:p>
        </p:txBody>
      </p:sp>
      <p:sp>
        <p:nvSpPr>
          <p:cNvPr id="38" name="Rectangle 37"/>
          <p:cNvSpPr/>
          <p:nvPr/>
        </p:nvSpPr>
        <p:spPr bwMode="auto">
          <a:xfrm>
            <a:off x="6693177" y="2195942"/>
            <a:ext cx="4275267" cy="1042416"/>
          </a:xfrm>
          <a:prstGeom prst="rect">
            <a:avLst/>
          </a:prstGeom>
          <a:solidFill>
            <a:srgbClr val="00BCF2"/>
          </a:solidFill>
          <a:ln w="25400" cap="flat" cmpd="sng" algn="ctr">
            <a:noFill/>
            <a:prstDash val="solid"/>
            <a:headEnd type="none" w="med" len="med"/>
            <a:tailEnd type="none" w="med" len="med"/>
          </a:ln>
          <a:effectLst/>
        </p:spPr>
        <p:txBody>
          <a:bodyPr rot="0" spcFirstLastPara="0" vertOverflow="overflow" horzOverflow="overflow" vert="horz" wrap="square" lIns="49702" tIns="99402" rIns="49702" bIns="41768" numCol="1" spcCol="0" rtlCol="0" fromWordArt="0" anchor="b" anchorCtr="0" forceAA="0" compatLnSpc="1">
            <a:prstTxWarp prst="textNoShape">
              <a:avLst/>
            </a:prstTxWarp>
            <a:noAutofit/>
          </a:bodyPr>
          <a:lstStyle/>
          <a:p>
            <a:pPr marL="0" marR="0" lvl="0" indent="0" algn="ctr" defTabSz="602693"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pitchFamily="34" charset="0"/>
                <a:ea typeface="Segoe UI" pitchFamily="34" charset="0"/>
                <a:cs typeface="Segoe UI" pitchFamily="34" charset="0"/>
              </a:rPr>
              <a:t>Create table</a:t>
            </a:r>
          </a:p>
        </p:txBody>
      </p:sp>
      <p:sp>
        <p:nvSpPr>
          <p:cNvPr id="39" name="Rectangle 38"/>
          <p:cNvSpPr/>
          <p:nvPr/>
        </p:nvSpPr>
        <p:spPr bwMode="auto">
          <a:xfrm>
            <a:off x="6693177" y="3532643"/>
            <a:ext cx="4275267" cy="1041935"/>
          </a:xfrm>
          <a:prstGeom prst="rect">
            <a:avLst/>
          </a:prstGeom>
          <a:solidFill>
            <a:srgbClr val="00BCF2"/>
          </a:solidFill>
          <a:ln w="25400" cap="flat" cmpd="sng" algn="ctr">
            <a:noFill/>
            <a:prstDash val="solid"/>
            <a:headEnd type="none" w="med" len="med"/>
            <a:tailEnd type="none" w="med" len="med"/>
          </a:ln>
          <a:effectLst/>
        </p:spPr>
        <p:txBody>
          <a:bodyPr rot="0" spcFirstLastPara="0" vertOverflow="overflow" horzOverflow="overflow" vert="horz" wrap="square" lIns="49702" tIns="99402" rIns="49702" bIns="41768" numCol="1" spcCol="0" rtlCol="0" fromWordArt="0" anchor="b" anchorCtr="0" forceAA="0" compatLnSpc="1">
            <a:prstTxWarp prst="textNoShape">
              <a:avLst/>
            </a:prstTxWarp>
            <a:noAutofit/>
          </a:bodyPr>
          <a:lstStyle/>
          <a:p>
            <a:pPr marL="0" marR="0" lvl="0" indent="0" algn="ctr" defTabSz="602693"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pitchFamily="34" charset="0"/>
                <a:ea typeface="Segoe UI" pitchFamily="34" charset="0"/>
                <a:cs typeface="Segoe UI" pitchFamily="34" charset="0"/>
              </a:rPr>
              <a:t>Import data into Hive table </a:t>
            </a:r>
          </a:p>
        </p:txBody>
      </p:sp>
      <p:sp>
        <p:nvSpPr>
          <p:cNvPr id="40" name="Rectangle 39"/>
          <p:cNvSpPr/>
          <p:nvPr/>
        </p:nvSpPr>
        <p:spPr bwMode="auto">
          <a:xfrm>
            <a:off x="6693177" y="4868863"/>
            <a:ext cx="4275267" cy="1043239"/>
          </a:xfrm>
          <a:prstGeom prst="rect">
            <a:avLst/>
          </a:prstGeom>
          <a:solidFill>
            <a:srgbClr val="00BCF2"/>
          </a:solidFill>
          <a:ln w="25400" cap="flat" cmpd="sng" algn="ctr">
            <a:noFill/>
            <a:prstDash val="solid"/>
            <a:headEnd type="none" w="med" len="med"/>
            <a:tailEnd type="none" w="med" len="med"/>
          </a:ln>
          <a:effectLst/>
        </p:spPr>
        <p:txBody>
          <a:bodyPr rot="0" spcFirstLastPara="0" vertOverflow="overflow" horzOverflow="overflow" vert="horz" wrap="square" lIns="49702" tIns="99402" rIns="49702" bIns="41768" numCol="1" spcCol="0" rtlCol="0" fromWordArt="0" anchor="b" anchorCtr="0" forceAA="0" compatLnSpc="1">
            <a:prstTxWarp prst="textNoShape">
              <a:avLst/>
            </a:prstTxWarp>
            <a:noAutofit/>
          </a:bodyPr>
          <a:lstStyle/>
          <a:p>
            <a:pPr marL="0" marR="0" lvl="0" indent="0" algn="ctr" defTabSz="602693"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pitchFamily="34" charset="0"/>
                <a:ea typeface="Segoe UI" pitchFamily="34" charset="0"/>
                <a:cs typeface="Segoe UI" pitchFamily="34" charset="0"/>
              </a:rPr>
              <a:t>Query data using SQL-like statement</a:t>
            </a:r>
          </a:p>
        </p:txBody>
      </p:sp>
      <p:pic>
        <p:nvPicPr>
          <p:cNvPr id="42" name="Picture 47" descr="C:\Users\sakuu\Documents\Ballmer MGX 2011\Tile Icons\Calendar.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black">
          <a:xfrm>
            <a:off x="8391743" y="2299474"/>
            <a:ext cx="841916" cy="589548"/>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42"/>
          <p:cNvPicPr/>
          <p:nvPr/>
        </p:nvPicPr>
        <p:blipFill rotWithShape="1">
          <a:blip r:embed="rId4" cstate="print">
            <a:lum bright="70000" contrast="-70000"/>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val="0"/>
              </a:ext>
            </a:extLst>
          </a:blip>
          <a:srcRect/>
          <a:stretch/>
        </p:blipFill>
        <p:spPr bwMode="auto">
          <a:xfrm>
            <a:off x="8370444" y="4920120"/>
            <a:ext cx="884515" cy="629956"/>
          </a:xfrm>
          <a:prstGeom prst="rect">
            <a:avLst/>
          </a:prstGeom>
          <a:noFill/>
        </p:spPr>
      </p:pic>
      <p:sp>
        <p:nvSpPr>
          <p:cNvPr id="45" name="Freeform 83"/>
          <p:cNvSpPr>
            <a:spLocks noEditPoints="1"/>
          </p:cNvSpPr>
          <p:nvPr/>
        </p:nvSpPr>
        <p:spPr bwMode="black">
          <a:xfrm>
            <a:off x="8511884" y="3603953"/>
            <a:ext cx="601634" cy="635101"/>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45720" tIns="41153" rIns="82305" bIns="4115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7" name="Group 6"/>
          <p:cNvGrpSpPr/>
          <p:nvPr/>
        </p:nvGrpSpPr>
        <p:grpSpPr>
          <a:xfrm>
            <a:off x="8692593" y="3331345"/>
            <a:ext cx="240217" cy="109587"/>
            <a:chOff x="8409852" y="295277"/>
            <a:chExt cx="1648548" cy="200023"/>
          </a:xfrm>
        </p:grpSpPr>
        <p:cxnSp>
          <p:nvCxnSpPr>
            <p:cNvPr id="3" name="Straight Connector 2"/>
            <p:cNvCxnSpPr/>
            <p:nvPr/>
          </p:nvCxnSpPr>
          <p:spPr>
            <a:xfrm>
              <a:off x="8409852" y="295277"/>
              <a:ext cx="841916" cy="200023"/>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a:xfrm flipV="1">
              <a:off x="9251768" y="295277"/>
              <a:ext cx="806632" cy="200023"/>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0" name="Group 19"/>
          <p:cNvGrpSpPr/>
          <p:nvPr/>
        </p:nvGrpSpPr>
        <p:grpSpPr>
          <a:xfrm>
            <a:off x="8692593" y="4684595"/>
            <a:ext cx="240217" cy="109587"/>
            <a:chOff x="8409852" y="295277"/>
            <a:chExt cx="1648548" cy="200023"/>
          </a:xfrm>
        </p:grpSpPr>
        <p:cxnSp>
          <p:nvCxnSpPr>
            <p:cNvPr id="21" name="Straight Connector 20"/>
            <p:cNvCxnSpPr/>
            <p:nvPr/>
          </p:nvCxnSpPr>
          <p:spPr>
            <a:xfrm>
              <a:off x="8409852" y="295277"/>
              <a:ext cx="841916" cy="200023"/>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V="1">
              <a:off x="9251768" y="295277"/>
              <a:ext cx="806632" cy="200023"/>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02529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dirty="0"/>
              <a:t>Module 3: </a:t>
            </a:r>
            <a:br>
              <a:rPr lang="en-US" dirty="0"/>
            </a:br>
            <a:r>
              <a:rPr lang="en-US" sz="4400" dirty="0"/>
              <a:t>Azure Data Factory</a:t>
            </a:r>
            <a:endParaRPr lang="en-US" dirty="0"/>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94503640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136764" y="1803064"/>
            <a:ext cx="7514284" cy="4637167"/>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lnSpc>
                <a:spcPct val="100000"/>
              </a:lnSpc>
              <a:spcBef>
                <a:spcPts val="1000"/>
              </a:spcBef>
              <a:buAutoNum type="arabicPeriod"/>
            </a:pPr>
            <a:r>
              <a:rPr lang="en-US" sz="3200" dirty="0">
                <a:solidFill>
                  <a:srgbClr val="00B050"/>
                </a:solidFill>
                <a:latin typeface="Segoe UI Light"/>
              </a:rPr>
              <a:t>Understand ADF and its constructs</a:t>
            </a:r>
          </a:p>
          <a:p>
            <a:pPr marL="514350" indent="-514350">
              <a:lnSpc>
                <a:spcPct val="100000"/>
              </a:lnSpc>
              <a:spcBef>
                <a:spcPts val="1000"/>
              </a:spcBef>
              <a:buAutoNum type="arabicPeriod"/>
            </a:pPr>
            <a:r>
              <a:rPr lang="en-US" sz="3200" dirty="0">
                <a:solidFill>
                  <a:srgbClr val="00B050"/>
                </a:solidFill>
                <a:latin typeface="Segoe UI Light"/>
              </a:rPr>
              <a:t>Implement an ADF Pipeline referencing Data Sources and with various Activities</a:t>
            </a:r>
          </a:p>
          <a:p>
            <a:pPr marL="514350" indent="-514350">
              <a:lnSpc>
                <a:spcPct val="100000"/>
              </a:lnSpc>
              <a:spcBef>
                <a:spcPts val="1000"/>
              </a:spcBef>
              <a:buAutoNum type="arabicPeriod"/>
            </a:pPr>
            <a:r>
              <a:rPr lang="en-US" sz="3200" dirty="0">
                <a:solidFill>
                  <a:srgbClr val="00B050"/>
                </a:solidFill>
                <a:latin typeface="Segoe UI Light"/>
              </a:rPr>
              <a:t>Understand how HDInsight can be used to process data</a:t>
            </a:r>
          </a:p>
          <a:p>
            <a:pPr marL="514350" indent="-514350">
              <a:lnSpc>
                <a:spcPct val="100000"/>
              </a:lnSpc>
              <a:spcBef>
                <a:spcPts val="1000"/>
              </a:spcBef>
              <a:buAutoNum type="arabicPeriod"/>
            </a:pPr>
            <a:r>
              <a:rPr lang="en-US" sz="3200" dirty="0">
                <a:solidFill>
                  <a:srgbClr val="00B050"/>
                </a:solidFill>
                <a:latin typeface="Segoe UI Light"/>
              </a:rPr>
              <a:t>Understand the HIVE language and how it is used</a:t>
            </a:r>
          </a:p>
          <a:p>
            <a:pPr marL="514350" indent="-514350">
              <a:lnSpc>
                <a:spcPct val="100000"/>
              </a:lnSpc>
              <a:spcBef>
                <a:spcPts val="1000"/>
              </a:spcBef>
              <a:buAutoNum type="arabicPeriod"/>
            </a:pPr>
            <a:endParaRPr lang="en-US" sz="3200" dirty="0">
              <a:solidFill>
                <a:srgbClr val="00B050"/>
              </a:solidFill>
              <a:latin typeface="Segoe UI Light"/>
            </a:endParaRPr>
          </a:p>
        </p:txBody>
      </p:sp>
      <p:sp>
        <p:nvSpPr>
          <p:cNvPr id="7" name="Title 1"/>
          <p:cNvSpPr txBox="1">
            <a:spLocks/>
          </p:cNvSpPr>
          <p:nvPr/>
        </p:nvSpPr>
        <p:spPr>
          <a:xfrm>
            <a:off x="0" y="0"/>
            <a:ext cx="7787812" cy="1583267"/>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lang="en-US" sz="5400" dirty="0">
                <a:solidFill>
                  <a:srgbClr val="005AA1"/>
                </a:solidFill>
              </a:rPr>
              <a:t>Section</a:t>
            </a:r>
            <a:r>
              <a:rPr sz="5400" dirty="0">
                <a:solidFill>
                  <a:srgbClr val="005AA1"/>
                </a:solidFill>
              </a:rPr>
              <a:t> </a:t>
            </a:r>
            <a:r>
              <a:rPr lang="en-US" sz="5400" dirty="0">
                <a:solidFill>
                  <a:srgbClr val="005AA1"/>
                </a:solidFill>
              </a:rPr>
              <a:t>3</a:t>
            </a:r>
            <a:r>
              <a:rPr sz="5400" dirty="0">
                <a:solidFill>
                  <a:srgbClr val="005AA1"/>
                </a:solidFill>
              </a:rPr>
              <a:t> Learning Objectives</a:t>
            </a:r>
            <a:endParaRPr sz="4800" dirty="0">
              <a:solidFill>
                <a:srgbClr val="005AA1"/>
              </a:solidFill>
            </a:endParaRPr>
          </a:p>
        </p:txBody>
      </p:sp>
      <p:pic>
        <p:nvPicPr>
          <p:cNvPr id="8" name="Picture 7"/>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7866743" y="-1"/>
            <a:ext cx="4569732" cy="6994525"/>
          </a:xfrm>
          <a:prstGeom prst="rect">
            <a:avLst/>
          </a:prstGeom>
        </p:spPr>
      </p:pic>
    </p:spTree>
    <p:extLst>
      <p:ext uri="{BB962C8B-B14F-4D97-AF65-F5344CB8AC3E}">
        <p14:creationId xmlns:p14="http://schemas.microsoft.com/office/powerpoint/2010/main" val="2677241035"/>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46050"/>
            <a:ext cx="11885613" cy="1179513"/>
          </a:xfrm>
        </p:spPr>
        <p:txBody>
          <a:bodyPr vert="horz" wrap="square" lIns="146304" tIns="91440" rIns="146304" bIns="91440" rtlCol="0" anchor="t">
            <a:noAutofit/>
          </a:bodyPr>
          <a:lstStyle/>
          <a:p>
            <a:pPr defTabSz="932742">
              <a:lnSpc>
                <a:spcPct val="90000"/>
              </a:lnSpc>
            </a:pPr>
            <a:r>
              <a:rPr lang="en-US" sz="5400" spc="-102" dirty="0">
                <a:ln w="3175">
                  <a:noFill/>
                </a:ln>
                <a:solidFill>
                  <a:schemeClr val="bg1"/>
                </a:solidFill>
                <a:ea typeface="+mn-ea"/>
                <a:cs typeface="Segoe UI" pitchFamily="34" charset="0"/>
              </a:rPr>
              <a:t>Azure Data Factory</a:t>
            </a:r>
          </a:p>
        </p:txBody>
      </p:sp>
      <p:sp>
        <p:nvSpPr>
          <p:cNvPr id="3" name="Rectangle 2"/>
          <p:cNvSpPr/>
          <p:nvPr/>
        </p:nvSpPr>
        <p:spPr>
          <a:xfrm>
            <a:off x="921427" y="2357717"/>
            <a:ext cx="10590297" cy="2636397"/>
          </a:xfrm>
          <a:prstGeom prst="rect">
            <a:avLst/>
          </a:prstGeom>
        </p:spPr>
        <p:txBody>
          <a:bodyPr wrap="square">
            <a:spAutoFit/>
          </a:bodyPr>
          <a:lstStyle/>
          <a:p>
            <a:pPr defTabSz="914224"/>
            <a:r>
              <a:rPr lang="en-US" sz="5399" kern="0" dirty="0">
                <a:solidFill>
                  <a:schemeClr val="bg1"/>
                </a:solidFill>
                <a:latin typeface="+mj-lt"/>
              </a:rPr>
              <a:t>Create, orchestrate, and manage data movement and enrichment through the cloud</a:t>
            </a:r>
          </a:p>
        </p:txBody>
      </p:sp>
      <p:pic>
        <p:nvPicPr>
          <p:cNvPr id="4" name="Picture 3"/>
          <p:cNvPicPr>
            <a:picLocks noChangeAspect="1"/>
          </p:cNvPicPr>
          <p:nvPr/>
        </p:nvPicPr>
        <p:blipFill>
          <a:blip r:embed="rId3"/>
          <a:stretch>
            <a:fillRect/>
          </a:stretch>
        </p:blipFill>
        <p:spPr>
          <a:xfrm>
            <a:off x="8226387" y="297435"/>
            <a:ext cx="3660330" cy="1730147"/>
          </a:xfrm>
          <a:prstGeom prst="rect">
            <a:avLst/>
          </a:prstGeom>
        </p:spPr>
      </p:pic>
    </p:spTree>
    <p:extLst>
      <p:ext uri="{BB962C8B-B14F-4D97-AF65-F5344CB8AC3E}">
        <p14:creationId xmlns:p14="http://schemas.microsoft.com/office/powerpoint/2010/main" val="1193620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99795" y="82542"/>
            <a:ext cx="11884506" cy="1129044"/>
          </a:xfrm>
          <a:prstGeom prst="rect">
            <a:avLst/>
          </a:prstGeom>
        </p:spPr>
        <p:txBody>
          <a:bodyPr vert="horz" lIns="186521" tIns="46630" rIns="186521" bIns="46630" rtlCol="0" anchor="t">
            <a:noAutofit/>
          </a:bodyPr>
          <a:lstStyle>
            <a:lvl1pPr defTabSz="896157">
              <a:spcBef>
                <a:spcPct val="0"/>
              </a:spcBef>
              <a:buNone/>
              <a:defRPr sz="4705">
                <a:gradFill>
                  <a:gsLst>
                    <a:gs pos="0">
                      <a:schemeClr val="tx1"/>
                    </a:gs>
                    <a:gs pos="100000">
                      <a:schemeClr val="tx1"/>
                    </a:gs>
                  </a:gsLst>
                  <a:lin ang="5400000" scaled="0"/>
                </a:gradFill>
                <a:latin typeface="+mj-lt"/>
                <a:ea typeface="+mj-ea"/>
                <a:cs typeface="+mj-cs"/>
              </a:defRPr>
            </a:lvl1pPr>
          </a:lstStyle>
          <a:p>
            <a:pPr defTabSz="913991"/>
            <a:r>
              <a:rPr lang="en-US" sz="4799" kern="0" dirty="0">
                <a:solidFill>
                  <a:srgbClr val="00B0F0"/>
                </a:solidFill>
              </a:rPr>
              <a:t>ADF Components</a:t>
            </a:r>
          </a:p>
        </p:txBody>
      </p:sp>
      <p:pic>
        <p:nvPicPr>
          <p:cNvPr id="3" name="Picture 2"/>
          <p:cNvPicPr>
            <a:picLocks noChangeAspect="1"/>
          </p:cNvPicPr>
          <p:nvPr/>
        </p:nvPicPr>
        <p:blipFill>
          <a:blip r:embed="rId3"/>
          <a:stretch>
            <a:fillRect/>
          </a:stretch>
        </p:blipFill>
        <p:spPr>
          <a:xfrm>
            <a:off x="976917" y="1990311"/>
            <a:ext cx="10745076" cy="3294525"/>
          </a:xfrm>
          <a:prstGeom prst="rect">
            <a:avLst/>
          </a:prstGeom>
        </p:spPr>
      </p:pic>
    </p:spTree>
    <p:extLst>
      <p:ext uri="{BB962C8B-B14F-4D97-AF65-F5344CB8AC3E}">
        <p14:creationId xmlns:p14="http://schemas.microsoft.com/office/powerpoint/2010/main" val="753943266"/>
      </p:ext>
    </p:extLst>
  </p:cSld>
  <p:clrMapOvr>
    <a:masterClrMapping/>
  </p:clrMapOvr>
  <p:transition spd="slow">
    <p:wipe/>
  </p:transition>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99795" y="82543"/>
            <a:ext cx="11884506" cy="1205233"/>
          </a:xfrm>
          <a:prstGeom prst="rect">
            <a:avLst/>
          </a:prstGeom>
        </p:spPr>
        <p:txBody>
          <a:bodyPr vert="horz" lIns="186521" tIns="46630" rIns="186521" bIns="46630" rtlCol="0" anchor="t">
            <a:noAutofit/>
          </a:bodyPr>
          <a:lstStyle>
            <a:defPPr>
              <a:defRPr lang="en-US"/>
            </a:defPPr>
            <a:lvl1pPr defTabSz="896157">
              <a:spcBef>
                <a:spcPct val="0"/>
              </a:spcBef>
              <a:buNone/>
              <a:defRPr sz="4705">
                <a:solidFill>
                  <a:srgbClr val="00B0F0"/>
                </a:solidFill>
                <a:latin typeface="+mj-lt"/>
                <a:ea typeface="+mj-ea"/>
                <a:cs typeface="+mj-cs"/>
              </a:defRPr>
            </a:lvl1pPr>
          </a:lstStyle>
          <a:p>
            <a:pPr defTabSz="913991"/>
            <a:r>
              <a:rPr lang="en-US" sz="4799" kern="0" dirty="0"/>
              <a:t>ADF Logical Flow</a:t>
            </a:r>
          </a:p>
        </p:txBody>
      </p:sp>
      <p:pic>
        <p:nvPicPr>
          <p:cNvPr id="4" name="Picture 3"/>
          <p:cNvPicPr>
            <a:picLocks noChangeAspect="1"/>
          </p:cNvPicPr>
          <p:nvPr/>
        </p:nvPicPr>
        <p:blipFill>
          <a:blip r:embed="rId3"/>
          <a:stretch>
            <a:fillRect/>
          </a:stretch>
        </p:blipFill>
        <p:spPr>
          <a:xfrm>
            <a:off x="584632" y="1607329"/>
            <a:ext cx="11499669" cy="3658468"/>
          </a:xfrm>
          <a:prstGeom prst="rect">
            <a:avLst/>
          </a:prstGeom>
        </p:spPr>
      </p:pic>
    </p:spTree>
    <p:extLst>
      <p:ext uri="{BB962C8B-B14F-4D97-AF65-F5344CB8AC3E}">
        <p14:creationId xmlns:p14="http://schemas.microsoft.com/office/powerpoint/2010/main" val="2989969315"/>
      </p:ext>
    </p:extLst>
  </p:cSld>
  <p:clrMapOvr>
    <a:masterClrMapping/>
  </p:clrMapOvr>
  <p:transition spd="slow">
    <p:wipe/>
  </p:transition>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99795" y="82543"/>
            <a:ext cx="11884506" cy="1205233"/>
          </a:xfrm>
          <a:prstGeom prst="rect">
            <a:avLst/>
          </a:prstGeom>
        </p:spPr>
        <p:txBody>
          <a:bodyPr vert="horz" lIns="186521" tIns="46630" rIns="186521" bIns="46630" rtlCol="0" anchor="t">
            <a:noAutofit/>
          </a:bodyPr>
          <a:lstStyle>
            <a:defPPr>
              <a:defRPr lang="en-US"/>
            </a:defPPr>
            <a:lvl1pPr defTabSz="896157">
              <a:spcBef>
                <a:spcPct val="0"/>
              </a:spcBef>
              <a:buNone/>
              <a:defRPr sz="4705">
                <a:solidFill>
                  <a:srgbClr val="00B0F0"/>
                </a:solidFill>
                <a:latin typeface="+mj-lt"/>
                <a:ea typeface="+mj-ea"/>
                <a:cs typeface="+mj-cs"/>
              </a:defRPr>
            </a:lvl1pPr>
          </a:lstStyle>
          <a:p>
            <a:pPr defTabSz="913991"/>
            <a:r>
              <a:rPr lang="en-US" sz="5400" kern="0" dirty="0"/>
              <a:t>ADF Process</a:t>
            </a:r>
          </a:p>
        </p:txBody>
      </p:sp>
      <p:sp>
        <p:nvSpPr>
          <p:cNvPr id="5" name="Rectangle 4"/>
          <p:cNvSpPr/>
          <p:nvPr/>
        </p:nvSpPr>
        <p:spPr>
          <a:xfrm>
            <a:off x="524049" y="1403715"/>
            <a:ext cx="11560252" cy="5016758"/>
          </a:xfrm>
          <a:prstGeom prst="rect">
            <a:avLst/>
          </a:prstGeom>
        </p:spPr>
        <p:txBody>
          <a:bodyPr wrap="square">
            <a:spAutoFit/>
          </a:bodyPr>
          <a:lstStyle/>
          <a:p>
            <a:pPr marL="514251" indent="-514251" defTabSz="914224">
              <a:buFont typeface="+mj-lt"/>
              <a:buAutoNum type="arabicPeriod"/>
              <a:defRPr/>
            </a:pPr>
            <a:r>
              <a:rPr lang="en-US" sz="4000" kern="0" dirty="0">
                <a:solidFill>
                  <a:srgbClr val="C00000"/>
                </a:solidFill>
                <a:latin typeface="Segoe UI Light"/>
              </a:rPr>
              <a:t>Define Architecture</a:t>
            </a:r>
            <a:r>
              <a:rPr lang="en-US" sz="4000" kern="0" dirty="0">
                <a:solidFill>
                  <a:sysClr val="windowText" lastClr="000000"/>
                </a:solidFill>
                <a:latin typeface="Segoe UI Light"/>
              </a:rPr>
              <a:t>: Set up objectives and flow</a:t>
            </a:r>
          </a:p>
          <a:p>
            <a:pPr marL="514251" indent="-514251" defTabSz="914224">
              <a:buFont typeface="+mj-lt"/>
              <a:buAutoNum type="arabicPeriod"/>
              <a:defRPr/>
            </a:pPr>
            <a:r>
              <a:rPr lang="en-US" sz="4000" kern="0" dirty="0">
                <a:solidFill>
                  <a:srgbClr val="C00000"/>
                </a:solidFill>
                <a:latin typeface="Segoe UI Light"/>
              </a:rPr>
              <a:t>Create the Data Factory</a:t>
            </a:r>
            <a:r>
              <a:rPr lang="en-US" sz="4000" kern="0" dirty="0">
                <a:solidFill>
                  <a:sysClr val="windowText" lastClr="000000"/>
                </a:solidFill>
                <a:latin typeface="Segoe UI Light"/>
              </a:rPr>
              <a:t>: Portal, PowerShell, VS</a:t>
            </a:r>
          </a:p>
          <a:p>
            <a:pPr marL="514251" indent="-514251" defTabSz="914224">
              <a:buFont typeface="+mj-lt"/>
              <a:buAutoNum type="arabicPeriod"/>
              <a:defRPr/>
            </a:pPr>
            <a:r>
              <a:rPr lang="en-US" sz="4000" kern="0" dirty="0">
                <a:solidFill>
                  <a:srgbClr val="C00000"/>
                </a:solidFill>
                <a:latin typeface="Segoe UI Light"/>
              </a:rPr>
              <a:t>Create Linked Services</a:t>
            </a:r>
            <a:r>
              <a:rPr lang="en-US" sz="4000" kern="0" dirty="0">
                <a:solidFill>
                  <a:sysClr val="windowText" lastClr="000000"/>
                </a:solidFill>
                <a:latin typeface="Segoe UI Light"/>
              </a:rPr>
              <a:t>: Connections to Data and Services</a:t>
            </a:r>
          </a:p>
          <a:p>
            <a:pPr marL="514251" indent="-514251" defTabSz="914224">
              <a:buFont typeface="+mj-lt"/>
              <a:buAutoNum type="arabicPeriod"/>
              <a:defRPr/>
            </a:pPr>
            <a:r>
              <a:rPr lang="en-US" sz="4000" kern="0" dirty="0">
                <a:solidFill>
                  <a:srgbClr val="C00000"/>
                </a:solidFill>
                <a:latin typeface="Segoe UI Light"/>
              </a:rPr>
              <a:t>Create Datasets</a:t>
            </a:r>
            <a:r>
              <a:rPr lang="en-US" sz="4000" kern="0" dirty="0">
                <a:solidFill>
                  <a:sysClr val="windowText" lastClr="000000"/>
                </a:solidFill>
                <a:latin typeface="Segoe UI Light"/>
              </a:rPr>
              <a:t>: Input and Output</a:t>
            </a:r>
            <a:r>
              <a:rPr lang="en-US" sz="4000" kern="0" dirty="0">
                <a:solidFill>
                  <a:srgbClr val="C00000"/>
                </a:solidFill>
                <a:latin typeface="Segoe UI Light"/>
              </a:rPr>
              <a:t> </a:t>
            </a:r>
          </a:p>
          <a:p>
            <a:pPr marL="514251" indent="-514251" defTabSz="914224">
              <a:buFont typeface="+mj-lt"/>
              <a:buAutoNum type="arabicPeriod"/>
              <a:defRPr/>
            </a:pPr>
            <a:r>
              <a:rPr lang="en-US" sz="4000" kern="0" dirty="0">
                <a:solidFill>
                  <a:srgbClr val="C00000"/>
                </a:solidFill>
                <a:latin typeface="Segoe UI Light"/>
              </a:rPr>
              <a:t>Create Pipeline</a:t>
            </a:r>
            <a:r>
              <a:rPr lang="en-US" sz="4000" kern="0" dirty="0">
                <a:solidFill>
                  <a:sysClr val="windowText" lastClr="000000"/>
                </a:solidFill>
                <a:latin typeface="Segoe UI Light"/>
              </a:rPr>
              <a:t>: Define Activities</a:t>
            </a:r>
            <a:r>
              <a:rPr lang="en-US" sz="4000" kern="0" dirty="0">
                <a:solidFill>
                  <a:srgbClr val="C00000"/>
                </a:solidFill>
                <a:latin typeface="Segoe UI Light"/>
              </a:rPr>
              <a:t> </a:t>
            </a:r>
          </a:p>
          <a:p>
            <a:pPr marL="514251" indent="-514251" defTabSz="914224">
              <a:buFont typeface="+mj-lt"/>
              <a:buAutoNum type="arabicPeriod"/>
              <a:defRPr/>
            </a:pPr>
            <a:r>
              <a:rPr lang="en-US" sz="4000" kern="0" dirty="0">
                <a:solidFill>
                  <a:srgbClr val="C00000"/>
                </a:solidFill>
                <a:latin typeface="Segoe UI Light"/>
              </a:rPr>
              <a:t>Monitor and Manage</a:t>
            </a:r>
            <a:r>
              <a:rPr lang="en-US" sz="4000" kern="0" dirty="0">
                <a:solidFill>
                  <a:sysClr val="windowText" lastClr="000000"/>
                </a:solidFill>
                <a:latin typeface="Segoe UI Light"/>
              </a:rPr>
              <a:t>: Portal or PowerShell, Alerts and Metrics</a:t>
            </a:r>
          </a:p>
        </p:txBody>
      </p:sp>
    </p:spTree>
    <p:extLst>
      <p:ext uri="{BB962C8B-B14F-4D97-AF65-F5344CB8AC3E}">
        <p14:creationId xmlns:p14="http://schemas.microsoft.com/office/powerpoint/2010/main" val="298242079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animEffect transition="in" filter="fade">
                                      <p:cBhvr>
                                        <p:cTn id="7" dur="500"/>
                                        <p:tgtEl>
                                          <p:spTgt spid="5">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xEl>
                                              <p:pRg st="2" end="2"/>
                                            </p:txEl>
                                          </p:spTgt>
                                        </p:tgtEl>
                                        <p:attrNameLst>
                                          <p:attrName>style.visibility</p:attrName>
                                        </p:attrNameLst>
                                      </p:cBhvr>
                                      <p:to>
                                        <p:strVal val="visible"/>
                                      </p:to>
                                    </p:set>
                                    <p:animEffect transition="in" filter="fade">
                                      <p:cBhvr>
                                        <p:cTn id="12" dur="500"/>
                                        <p:tgtEl>
                                          <p:spTgt spid="5">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xEl>
                                              <p:pRg st="3" end="3"/>
                                            </p:txEl>
                                          </p:spTgt>
                                        </p:tgtEl>
                                        <p:attrNameLst>
                                          <p:attrName>style.visibility</p:attrName>
                                        </p:attrNameLst>
                                      </p:cBhvr>
                                      <p:to>
                                        <p:strVal val="visible"/>
                                      </p:to>
                                    </p:set>
                                    <p:animEffect transition="in" filter="fade">
                                      <p:cBhvr>
                                        <p:cTn id="17" dur="500"/>
                                        <p:tgtEl>
                                          <p:spTgt spid="5">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
                                            <p:txEl>
                                              <p:pRg st="4" end="4"/>
                                            </p:txEl>
                                          </p:spTgt>
                                        </p:tgtEl>
                                        <p:attrNameLst>
                                          <p:attrName>style.visibility</p:attrName>
                                        </p:attrNameLst>
                                      </p:cBhvr>
                                      <p:to>
                                        <p:strVal val="visible"/>
                                      </p:to>
                                    </p:set>
                                    <p:animEffect transition="in" filter="fade">
                                      <p:cBhvr>
                                        <p:cTn id="22" dur="500"/>
                                        <p:tgtEl>
                                          <p:spTgt spid="5">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animEffect transition="in" filter="fade">
                                      <p:cBhvr>
                                        <p:cTn id="27" dur="500"/>
                                        <p:tgtEl>
                                          <p:spTgt spid="5">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90500"/>
            <a:ext cx="4924425" cy="969963"/>
          </a:xfrm>
        </p:spPr>
        <p:txBody>
          <a:bodyPr vert="horz" lIns="186521" tIns="46630" rIns="186521" bIns="46630" rtlCol="0" anchor="t">
            <a:noAutofit/>
          </a:bodyPr>
          <a:lstStyle/>
          <a:p>
            <a:r>
              <a:rPr lang="en-US" dirty="0">
                <a:solidFill>
                  <a:schemeClr val="bg1"/>
                </a:solidFill>
              </a:rPr>
              <a:t>1. Design Process</a:t>
            </a:r>
          </a:p>
        </p:txBody>
      </p:sp>
      <p:sp>
        <p:nvSpPr>
          <p:cNvPr id="3" name="Title 1"/>
          <p:cNvSpPr txBox="1">
            <a:spLocks/>
          </p:cNvSpPr>
          <p:nvPr/>
        </p:nvSpPr>
        <p:spPr>
          <a:xfrm>
            <a:off x="891977" y="2163877"/>
            <a:ext cx="10337431" cy="257034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5399" dirty="0">
                <a:solidFill>
                  <a:schemeClr val="bg1"/>
                </a:solidFill>
              </a:rPr>
              <a:t>Define data sources, processing requirements, and output – also management and monitoring</a:t>
            </a:r>
          </a:p>
        </p:txBody>
      </p:sp>
    </p:spTree>
    <p:extLst>
      <p:ext uri="{BB962C8B-B14F-4D97-AF65-F5344CB8AC3E}">
        <p14:creationId xmlns:p14="http://schemas.microsoft.com/office/powerpoint/2010/main" val="3478190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99795" y="82543"/>
            <a:ext cx="11884506" cy="1086935"/>
          </a:xfrm>
          <a:prstGeom prst="rect">
            <a:avLst/>
          </a:prstGeom>
        </p:spPr>
        <p:txBody>
          <a:bodyPr vert="horz" lIns="186521" tIns="46630" rIns="186521" bIns="46630" rtlCol="0" anchor="t">
            <a:noAutofit/>
          </a:bodyPr>
          <a:lstStyle>
            <a:defPPr>
              <a:defRPr lang="en-US"/>
            </a:defPPr>
            <a:lvl1pPr defTabSz="896157">
              <a:spcBef>
                <a:spcPct val="0"/>
              </a:spcBef>
              <a:buNone/>
              <a:defRPr sz="4705">
                <a:solidFill>
                  <a:srgbClr val="00B0F0"/>
                </a:solidFill>
                <a:latin typeface="+mj-lt"/>
                <a:ea typeface="+mj-ea"/>
                <a:cs typeface="+mj-cs"/>
              </a:defRPr>
            </a:lvl1pPr>
          </a:lstStyle>
          <a:p>
            <a:pPr defTabSz="913991"/>
            <a:r>
              <a:rPr lang="en-US" sz="4799" kern="0" dirty="0"/>
              <a:t>Example - Churn</a:t>
            </a:r>
          </a:p>
        </p:txBody>
      </p:sp>
      <p:sp>
        <p:nvSpPr>
          <p:cNvPr id="112" name="Rectangle 111"/>
          <p:cNvSpPr/>
          <p:nvPr/>
        </p:nvSpPr>
        <p:spPr bwMode="auto">
          <a:xfrm>
            <a:off x="2713534" y="5221396"/>
            <a:ext cx="6857027" cy="1240448"/>
          </a:xfrm>
          <a:prstGeom prst="rect">
            <a:avLst/>
          </a:prstGeom>
          <a:solidFill>
            <a:srgbClr val="FFFFFF">
              <a:lumMod val="85000"/>
            </a:srgbClr>
          </a:solidFill>
          <a:ln w="9525" cap="flat" cmpd="sng" algn="ctr">
            <a:noFill/>
            <a:prstDash val="solid"/>
            <a:headEnd type="none" w="med" len="med"/>
            <a:tailEnd type="none" w="med" len="med"/>
          </a:ln>
          <a:effectLst/>
        </p:spPr>
        <p:txBody>
          <a:bodyPr lIns="93247" tIns="93247" rIns="34972" bIns="34972" rtlCol="0" anchor="ctr" anchorCtr="0"/>
          <a:lstStyle/>
          <a:p>
            <a:pPr algn="ctr" defTabSz="950778">
              <a:defRPr/>
            </a:pPr>
            <a:endParaRPr lang="en-US" sz="1632" kern="0" dirty="0">
              <a:solidFill>
                <a:srgbClr val="505050"/>
              </a:solidFill>
              <a:latin typeface="Segoe UI"/>
              <a:ea typeface="Segoe UI" pitchFamily="34" charset="0"/>
              <a:cs typeface="Segoe UI" pitchFamily="34" charset="0"/>
            </a:endParaRPr>
          </a:p>
        </p:txBody>
      </p:sp>
      <p:sp>
        <p:nvSpPr>
          <p:cNvPr id="114" name="TextBox 113"/>
          <p:cNvSpPr txBox="1"/>
          <p:nvPr/>
        </p:nvSpPr>
        <p:spPr>
          <a:xfrm>
            <a:off x="3065234" y="6093766"/>
            <a:ext cx="2241153" cy="499037"/>
          </a:xfrm>
          <a:prstGeom prst="rect">
            <a:avLst/>
          </a:prstGeom>
          <a:noFill/>
        </p:spPr>
        <p:txBody>
          <a:bodyPr wrap="square" lIns="186494" tIns="149196" rIns="186494" bIns="149196" rtlCol="0">
            <a:spAutoFit/>
          </a:bodyPr>
          <a:lstStyle/>
          <a:p>
            <a:pPr defTabSz="914224">
              <a:lnSpc>
                <a:spcPct val="90000"/>
              </a:lnSpc>
              <a:spcAft>
                <a:spcPts val="612"/>
              </a:spcAft>
              <a:defRPr/>
            </a:pPr>
            <a:r>
              <a:rPr lang="en-US" sz="1428" kern="0" dirty="0">
                <a:gradFill>
                  <a:gsLst>
                    <a:gs pos="2917">
                      <a:srgbClr val="505050"/>
                    </a:gs>
                    <a:gs pos="30000">
                      <a:srgbClr val="505050"/>
                    </a:gs>
                  </a:gsLst>
                  <a:lin ang="5400000" scaled="0"/>
                </a:gradFill>
              </a:rPr>
              <a:t>Azure Blob Storage</a:t>
            </a:r>
          </a:p>
        </p:txBody>
      </p:sp>
      <p:pic>
        <p:nvPicPr>
          <p:cNvPr id="113" name="Picture 1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89724" y="6045332"/>
            <a:ext cx="416513" cy="416513"/>
          </a:xfrm>
          <a:prstGeom prst="rect">
            <a:avLst/>
          </a:prstGeom>
        </p:spPr>
      </p:pic>
      <p:sp>
        <p:nvSpPr>
          <p:cNvPr id="115" name="Rectangle 114"/>
          <p:cNvSpPr/>
          <p:nvPr/>
        </p:nvSpPr>
        <p:spPr bwMode="auto">
          <a:xfrm>
            <a:off x="2713535" y="3746084"/>
            <a:ext cx="1676162" cy="1766529"/>
          </a:xfrm>
          <a:prstGeom prst="rect">
            <a:avLst/>
          </a:prstGeom>
          <a:solidFill>
            <a:srgbClr val="FFFFFF">
              <a:lumMod val="85000"/>
            </a:srgbClr>
          </a:solidFill>
          <a:ln w="9525" cap="flat" cmpd="sng" algn="ctr">
            <a:noFill/>
            <a:prstDash val="solid"/>
            <a:headEnd type="none" w="med" len="med"/>
            <a:tailEnd type="none" w="med" len="med"/>
          </a:ln>
          <a:effectLst/>
        </p:spPr>
        <p:txBody>
          <a:bodyPr lIns="93247" tIns="93247" rIns="34972" bIns="34972" rtlCol="0" anchor="ctr" anchorCtr="0"/>
          <a:lstStyle/>
          <a:p>
            <a:pPr algn="ctr" defTabSz="950778">
              <a:defRPr/>
            </a:pPr>
            <a:endParaRPr lang="en-US" sz="1632" kern="0" dirty="0">
              <a:solidFill>
                <a:srgbClr val="505050"/>
              </a:solidFill>
              <a:latin typeface="Segoe UI"/>
              <a:ea typeface="Segoe UI" pitchFamily="34" charset="0"/>
              <a:cs typeface="Segoe UI" pitchFamily="34" charset="0"/>
            </a:endParaRPr>
          </a:p>
        </p:txBody>
      </p:sp>
      <p:sp>
        <p:nvSpPr>
          <p:cNvPr id="116" name="Rectangle 115"/>
          <p:cNvSpPr/>
          <p:nvPr/>
        </p:nvSpPr>
        <p:spPr>
          <a:xfrm>
            <a:off x="2789724" y="4027900"/>
            <a:ext cx="1407513" cy="382486"/>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50973">
              <a:defRPr/>
            </a:pPr>
            <a:endParaRPr lang="en-US" sz="1223" kern="0" dirty="0">
              <a:solidFill>
                <a:prstClr val="black"/>
              </a:solidFill>
              <a:latin typeface="Segoe UI"/>
            </a:endParaRPr>
          </a:p>
        </p:txBody>
      </p:sp>
      <p:sp>
        <p:nvSpPr>
          <p:cNvPr id="117" name="Rectangle 116"/>
          <p:cNvSpPr/>
          <p:nvPr/>
        </p:nvSpPr>
        <p:spPr>
          <a:xfrm>
            <a:off x="2859794" y="4102549"/>
            <a:ext cx="1407513" cy="382486"/>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50973">
              <a:defRPr/>
            </a:pPr>
            <a:endParaRPr lang="en-US" sz="1223" kern="0" dirty="0">
              <a:solidFill>
                <a:prstClr val="black"/>
              </a:solidFill>
              <a:latin typeface="Segoe UI"/>
            </a:endParaRPr>
          </a:p>
        </p:txBody>
      </p:sp>
      <p:sp>
        <p:nvSpPr>
          <p:cNvPr id="118" name="Rectangle 117"/>
          <p:cNvSpPr/>
          <p:nvPr/>
        </p:nvSpPr>
        <p:spPr>
          <a:xfrm>
            <a:off x="2935044" y="4178190"/>
            <a:ext cx="1407513" cy="382486"/>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50973">
              <a:defRPr/>
            </a:pPr>
            <a:r>
              <a:rPr lang="en-US" sz="1223" kern="0" dirty="0">
                <a:solidFill>
                  <a:prstClr val="black"/>
                </a:solidFill>
                <a:latin typeface="Segoe UI"/>
              </a:rPr>
              <a:t>Call Log Files</a:t>
            </a:r>
          </a:p>
        </p:txBody>
      </p:sp>
      <p:sp>
        <p:nvSpPr>
          <p:cNvPr id="119" name="Rectangle 118"/>
          <p:cNvSpPr/>
          <p:nvPr/>
        </p:nvSpPr>
        <p:spPr>
          <a:xfrm>
            <a:off x="2835483" y="4762721"/>
            <a:ext cx="1456133" cy="382486"/>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50973">
              <a:defRPr/>
            </a:pPr>
            <a:r>
              <a:rPr lang="en-US" sz="1223" kern="0" dirty="0">
                <a:solidFill>
                  <a:prstClr val="black"/>
                </a:solidFill>
                <a:latin typeface="Segoe UI"/>
              </a:rPr>
              <a:t>Customer Table</a:t>
            </a:r>
          </a:p>
        </p:txBody>
      </p:sp>
      <p:cxnSp>
        <p:nvCxnSpPr>
          <p:cNvPr id="120" name="Elbow Connector 119"/>
          <p:cNvCxnSpPr>
            <a:endCxn id="119" idx="1"/>
          </p:cNvCxnSpPr>
          <p:nvPr/>
        </p:nvCxnSpPr>
        <p:spPr>
          <a:xfrm flipV="1">
            <a:off x="1878825" y="4953964"/>
            <a:ext cx="956658" cy="383346"/>
          </a:xfrm>
          <a:prstGeom prst="bentConnector3">
            <a:avLst/>
          </a:prstGeom>
          <a:noFill/>
          <a:ln w="9525" cap="flat" cmpd="sng" algn="ctr">
            <a:solidFill>
              <a:srgbClr val="505050"/>
            </a:solidFill>
            <a:prstDash val="dash"/>
            <a:headEnd type="none"/>
            <a:tailEnd type="triangle"/>
          </a:ln>
          <a:effectLst/>
        </p:spPr>
      </p:cxnSp>
      <p:cxnSp>
        <p:nvCxnSpPr>
          <p:cNvPr id="121" name="Straight Connector 120"/>
          <p:cNvCxnSpPr/>
          <p:nvPr/>
        </p:nvCxnSpPr>
        <p:spPr>
          <a:xfrm flipV="1">
            <a:off x="1722084" y="4293793"/>
            <a:ext cx="976085" cy="7769"/>
          </a:xfrm>
          <a:prstGeom prst="line">
            <a:avLst/>
          </a:prstGeom>
          <a:noFill/>
          <a:ln w="9525" cap="flat" cmpd="sng" algn="ctr">
            <a:solidFill>
              <a:srgbClr val="505050"/>
            </a:solidFill>
            <a:prstDash val="dash"/>
            <a:headEnd type="none"/>
            <a:tailEnd type="triangle"/>
          </a:ln>
          <a:effectLst/>
        </p:spPr>
      </p:cxnSp>
      <p:sp>
        <p:nvSpPr>
          <p:cNvPr id="124" name="Rectangle 123"/>
          <p:cNvSpPr/>
          <p:nvPr/>
        </p:nvSpPr>
        <p:spPr bwMode="auto">
          <a:xfrm>
            <a:off x="403180" y="4992829"/>
            <a:ext cx="1781494" cy="1245625"/>
          </a:xfrm>
          <a:prstGeom prst="rect">
            <a:avLst/>
          </a:prstGeom>
          <a:solidFill>
            <a:srgbClr val="FFFFFF">
              <a:lumMod val="85000"/>
            </a:srgbClr>
          </a:solidFill>
          <a:ln w="9525" cap="flat" cmpd="sng" algn="ctr">
            <a:noFill/>
            <a:prstDash val="solid"/>
            <a:headEnd type="none" w="med" len="med"/>
            <a:tailEnd type="none" w="med" len="med"/>
          </a:ln>
          <a:effectLst/>
        </p:spPr>
        <p:txBody>
          <a:bodyPr lIns="93247" tIns="93247" rIns="34972" bIns="34972" rtlCol="0" anchor="ctr" anchorCtr="0"/>
          <a:lstStyle/>
          <a:p>
            <a:pPr algn="ctr" defTabSz="950778">
              <a:defRPr/>
            </a:pPr>
            <a:endParaRPr lang="en-US" sz="1632" kern="0" dirty="0">
              <a:solidFill>
                <a:srgbClr val="505050"/>
              </a:solidFill>
              <a:latin typeface="Segoe UI"/>
              <a:ea typeface="Segoe UI" pitchFamily="34" charset="0"/>
              <a:cs typeface="Segoe UI" pitchFamily="34" charset="0"/>
            </a:endParaRPr>
          </a:p>
        </p:txBody>
      </p:sp>
      <p:sp>
        <p:nvSpPr>
          <p:cNvPr id="125" name="TextBox 124"/>
          <p:cNvSpPr txBox="1"/>
          <p:nvPr/>
        </p:nvSpPr>
        <p:spPr>
          <a:xfrm>
            <a:off x="431758" y="5444171"/>
            <a:ext cx="1795361" cy="783148"/>
          </a:xfrm>
          <a:prstGeom prst="rect">
            <a:avLst/>
          </a:prstGeom>
          <a:noFill/>
        </p:spPr>
        <p:txBody>
          <a:bodyPr wrap="square" lIns="186494" tIns="149196" rIns="186494" bIns="149196" rtlCol="0">
            <a:spAutoFit/>
          </a:bodyPr>
          <a:lstStyle/>
          <a:p>
            <a:pPr defTabSz="914224">
              <a:lnSpc>
                <a:spcPct val="90000"/>
              </a:lnSpc>
              <a:spcAft>
                <a:spcPts val="612"/>
              </a:spcAft>
              <a:defRPr/>
            </a:pPr>
            <a:r>
              <a:rPr lang="en-US" sz="1428" kern="0" dirty="0">
                <a:gradFill>
                  <a:gsLst>
                    <a:gs pos="2917">
                      <a:srgbClr val="505050"/>
                    </a:gs>
                    <a:gs pos="30000">
                      <a:srgbClr val="505050"/>
                    </a:gs>
                  </a:gsLst>
                  <a:lin ang="5400000" scaled="0"/>
                </a:gradFill>
              </a:rPr>
              <a:t>On Premises </a:t>
            </a:r>
          </a:p>
          <a:p>
            <a:pPr defTabSz="914224">
              <a:lnSpc>
                <a:spcPct val="90000"/>
              </a:lnSpc>
              <a:spcAft>
                <a:spcPts val="612"/>
              </a:spcAft>
              <a:defRPr/>
            </a:pPr>
            <a:r>
              <a:rPr lang="en-US" sz="1428" kern="0" dirty="0">
                <a:gradFill>
                  <a:gsLst>
                    <a:gs pos="2917">
                      <a:srgbClr val="505050"/>
                    </a:gs>
                    <a:gs pos="30000">
                      <a:srgbClr val="505050"/>
                    </a:gs>
                  </a:gsLst>
                  <a:lin ang="5400000" scaled="0"/>
                </a:gradFill>
              </a:rPr>
              <a:t>Data Mart</a:t>
            </a:r>
          </a:p>
        </p:txBody>
      </p:sp>
      <p:sp>
        <p:nvSpPr>
          <p:cNvPr id="126" name="Rectangle 125"/>
          <p:cNvSpPr/>
          <p:nvPr/>
        </p:nvSpPr>
        <p:spPr>
          <a:xfrm>
            <a:off x="599049" y="4132652"/>
            <a:ext cx="1092808" cy="382486"/>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50973">
              <a:defRPr/>
            </a:pPr>
            <a:r>
              <a:rPr lang="en-US" sz="1223" kern="0" dirty="0">
                <a:solidFill>
                  <a:prstClr val="black"/>
                </a:solidFill>
                <a:latin typeface="Segoe UI"/>
              </a:rPr>
              <a:t>Call Log Files</a:t>
            </a:r>
          </a:p>
        </p:txBody>
      </p:sp>
      <p:grpSp>
        <p:nvGrpSpPr>
          <p:cNvPr id="127" name="Group 126"/>
          <p:cNvGrpSpPr/>
          <p:nvPr/>
        </p:nvGrpSpPr>
        <p:grpSpPr>
          <a:xfrm>
            <a:off x="381944" y="3681301"/>
            <a:ext cx="313999" cy="761892"/>
            <a:chOff x="646394" y="1973262"/>
            <a:chExt cx="434136" cy="969472"/>
          </a:xfrm>
        </p:grpSpPr>
        <p:sp>
          <p:nvSpPr>
            <p:cNvPr id="129" name="Flowchart: Connector 128"/>
            <p:cNvSpPr/>
            <p:nvPr/>
          </p:nvSpPr>
          <p:spPr bwMode="auto">
            <a:xfrm>
              <a:off x="722593" y="2333134"/>
              <a:ext cx="195122" cy="195122"/>
            </a:xfrm>
            <a:prstGeom prst="flowChartConnector">
              <a:avLst/>
            </a:prstGeom>
            <a:solidFill>
              <a:srgbClr val="FFFFFF">
                <a:lumMod val="50000"/>
              </a:srgbClr>
            </a:solidFill>
            <a:ln w="9525" cap="flat" cmpd="sng" algn="ctr">
              <a:noFill/>
              <a:prstDash val="solid"/>
              <a:headEnd type="none" w="med" len="med"/>
              <a:tailEnd type="none" w="med" len="med"/>
            </a:ln>
            <a:effectLst/>
          </p:spPr>
          <p:txBody>
            <a:bodyPr lIns="91427" tIns="91427" rIns="34289" bIns="34289" rtlCol="0" anchor="b" anchorCtr="0"/>
            <a:lstStyle/>
            <a:p>
              <a:pPr algn="ctr" defTabSz="932227">
                <a:defRPr/>
              </a:pPr>
              <a:endParaRPr lang="en-US" sz="8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30" name="Straight Connector 129"/>
            <p:cNvCxnSpPr>
              <a:stCxn id="129" idx="3"/>
            </p:cNvCxnSpPr>
            <p:nvPr/>
          </p:nvCxnSpPr>
          <p:spPr>
            <a:xfrm flipH="1">
              <a:off x="646394" y="2499681"/>
              <a:ext cx="104774" cy="443053"/>
            </a:xfrm>
            <a:prstGeom prst="line">
              <a:avLst/>
            </a:prstGeom>
            <a:noFill/>
            <a:ln w="38100" cap="flat" cmpd="sng" algn="ctr">
              <a:solidFill>
                <a:srgbClr val="FFFFFF">
                  <a:lumMod val="65000"/>
                </a:srgbClr>
              </a:solidFill>
              <a:prstDash val="solid"/>
              <a:headEnd type="none"/>
              <a:tailEnd type="none"/>
            </a:ln>
            <a:effectLst/>
          </p:spPr>
        </p:cxnSp>
        <p:cxnSp>
          <p:nvCxnSpPr>
            <p:cNvPr id="131" name="Straight Connector 130"/>
            <p:cNvCxnSpPr/>
            <p:nvPr/>
          </p:nvCxnSpPr>
          <p:spPr>
            <a:xfrm>
              <a:off x="884237" y="2494778"/>
              <a:ext cx="109678" cy="414478"/>
            </a:xfrm>
            <a:prstGeom prst="line">
              <a:avLst/>
            </a:prstGeom>
            <a:noFill/>
            <a:ln w="38100" cap="flat" cmpd="sng" algn="ctr">
              <a:solidFill>
                <a:srgbClr val="FFFFFF">
                  <a:lumMod val="65000"/>
                </a:srgbClr>
              </a:solidFill>
              <a:prstDash val="solid"/>
              <a:headEnd type="none"/>
              <a:tailEnd type="none"/>
            </a:ln>
            <a:effectLst/>
          </p:spPr>
        </p:cxnSp>
        <p:cxnSp>
          <p:nvCxnSpPr>
            <p:cNvPr id="132" name="Straight Connector 131"/>
            <p:cNvCxnSpPr/>
            <p:nvPr/>
          </p:nvCxnSpPr>
          <p:spPr>
            <a:xfrm>
              <a:off x="722593" y="2680656"/>
              <a:ext cx="195122" cy="0"/>
            </a:xfrm>
            <a:prstGeom prst="line">
              <a:avLst/>
            </a:prstGeom>
            <a:noFill/>
            <a:ln w="9525" cap="flat" cmpd="sng" algn="ctr">
              <a:solidFill>
                <a:srgbClr val="FFFFFF">
                  <a:lumMod val="65000"/>
                </a:srgbClr>
              </a:solidFill>
              <a:prstDash val="solid"/>
              <a:headEnd type="none"/>
              <a:tailEnd type="none"/>
            </a:ln>
            <a:effectLst/>
          </p:spPr>
        </p:cxnSp>
        <p:cxnSp>
          <p:nvCxnSpPr>
            <p:cNvPr id="133" name="Straight Connector 132"/>
            <p:cNvCxnSpPr/>
            <p:nvPr/>
          </p:nvCxnSpPr>
          <p:spPr>
            <a:xfrm>
              <a:off x="722593" y="2604456"/>
              <a:ext cx="195122" cy="0"/>
            </a:xfrm>
            <a:prstGeom prst="line">
              <a:avLst/>
            </a:prstGeom>
            <a:noFill/>
            <a:ln w="9525" cap="flat" cmpd="sng" algn="ctr">
              <a:solidFill>
                <a:srgbClr val="FFFFFF">
                  <a:lumMod val="65000"/>
                </a:srgbClr>
              </a:solidFill>
              <a:prstDash val="solid"/>
              <a:headEnd type="none"/>
              <a:tailEnd type="none"/>
            </a:ln>
            <a:effectLst/>
          </p:spPr>
        </p:cxnSp>
        <p:cxnSp>
          <p:nvCxnSpPr>
            <p:cNvPr id="134" name="Straight Connector 133"/>
            <p:cNvCxnSpPr/>
            <p:nvPr/>
          </p:nvCxnSpPr>
          <p:spPr>
            <a:xfrm flipV="1">
              <a:off x="884237" y="2071056"/>
              <a:ext cx="33478" cy="152400"/>
            </a:xfrm>
            <a:prstGeom prst="line">
              <a:avLst/>
            </a:prstGeom>
            <a:noFill/>
            <a:ln w="9525" cap="flat" cmpd="sng" algn="ctr">
              <a:solidFill>
                <a:srgbClr val="505050"/>
              </a:solidFill>
              <a:prstDash val="solid"/>
              <a:headEnd type="none"/>
              <a:tailEnd type="none"/>
            </a:ln>
            <a:effectLst/>
          </p:spPr>
        </p:cxnSp>
        <p:cxnSp>
          <p:nvCxnSpPr>
            <p:cNvPr id="135" name="Straight Connector 134"/>
            <p:cNvCxnSpPr/>
            <p:nvPr/>
          </p:nvCxnSpPr>
          <p:spPr>
            <a:xfrm flipV="1">
              <a:off x="993915" y="1973262"/>
              <a:ext cx="33478" cy="152400"/>
            </a:xfrm>
            <a:prstGeom prst="line">
              <a:avLst/>
            </a:prstGeom>
            <a:noFill/>
            <a:ln w="9525" cap="flat" cmpd="sng" algn="ctr">
              <a:solidFill>
                <a:srgbClr val="505050"/>
              </a:solidFill>
              <a:prstDash val="solid"/>
              <a:headEnd type="none"/>
              <a:tailEnd type="none"/>
            </a:ln>
            <a:effectLst/>
          </p:spPr>
        </p:cxnSp>
        <p:cxnSp>
          <p:nvCxnSpPr>
            <p:cNvPr id="136" name="Straight Connector 135"/>
            <p:cNvCxnSpPr/>
            <p:nvPr/>
          </p:nvCxnSpPr>
          <p:spPr>
            <a:xfrm flipH="1" flipV="1">
              <a:off x="917715" y="2071056"/>
              <a:ext cx="92939" cy="54606"/>
            </a:xfrm>
            <a:prstGeom prst="line">
              <a:avLst/>
            </a:prstGeom>
            <a:noFill/>
            <a:ln w="9525" cap="flat" cmpd="sng" algn="ctr">
              <a:solidFill>
                <a:srgbClr val="505050"/>
              </a:solidFill>
              <a:prstDash val="solid"/>
              <a:headEnd type="none"/>
              <a:tailEnd type="none"/>
            </a:ln>
            <a:effectLst/>
          </p:spPr>
        </p:cxnSp>
        <p:cxnSp>
          <p:nvCxnSpPr>
            <p:cNvPr id="137" name="Straight Connector 136"/>
            <p:cNvCxnSpPr/>
            <p:nvPr/>
          </p:nvCxnSpPr>
          <p:spPr>
            <a:xfrm flipV="1">
              <a:off x="937374" y="2173381"/>
              <a:ext cx="33478" cy="152400"/>
            </a:xfrm>
            <a:prstGeom prst="line">
              <a:avLst/>
            </a:prstGeom>
            <a:noFill/>
            <a:ln w="9525" cap="flat" cmpd="sng" algn="ctr">
              <a:solidFill>
                <a:srgbClr val="505050"/>
              </a:solidFill>
              <a:prstDash val="solid"/>
              <a:headEnd type="none"/>
              <a:tailEnd type="none"/>
            </a:ln>
            <a:effectLst/>
          </p:spPr>
        </p:cxnSp>
        <p:cxnSp>
          <p:nvCxnSpPr>
            <p:cNvPr id="138" name="Straight Connector 137"/>
            <p:cNvCxnSpPr/>
            <p:nvPr/>
          </p:nvCxnSpPr>
          <p:spPr>
            <a:xfrm flipV="1">
              <a:off x="1047052" y="2075587"/>
              <a:ext cx="33478" cy="152400"/>
            </a:xfrm>
            <a:prstGeom prst="line">
              <a:avLst/>
            </a:prstGeom>
            <a:noFill/>
            <a:ln w="9525" cap="flat" cmpd="sng" algn="ctr">
              <a:solidFill>
                <a:srgbClr val="505050"/>
              </a:solidFill>
              <a:prstDash val="solid"/>
              <a:headEnd type="none"/>
              <a:tailEnd type="none"/>
            </a:ln>
            <a:effectLst/>
          </p:spPr>
        </p:cxnSp>
        <p:cxnSp>
          <p:nvCxnSpPr>
            <p:cNvPr id="139" name="Straight Connector 138"/>
            <p:cNvCxnSpPr/>
            <p:nvPr/>
          </p:nvCxnSpPr>
          <p:spPr>
            <a:xfrm flipH="1" flipV="1">
              <a:off x="970852" y="2173381"/>
              <a:ext cx="92939" cy="54606"/>
            </a:xfrm>
            <a:prstGeom prst="line">
              <a:avLst/>
            </a:prstGeom>
            <a:noFill/>
            <a:ln w="9525" cap="flat" cmpd="sng" algn="ctr">
              <a:solidFill>
                <a:srgbClr val="505050"/>
              </a:solidFill>
              <a:prstDash val="solid"/>
              <a:headEnd type="none"/>
              <a:tailEnd type="none"/>
            </a:ln>
            <a:effectLst/>
          </p:spPr>
        </p:cxnSp>
      </p:grpSp>
      <p:sp>
        <p:nvSpPr>
          <p:cNvPr id="128" name="Rectangle 127"/>
          <p:cNvSpPr/>
          <p:nvPr/>
        </p:nvSpPr>
        <p:spPr>
          <a:xfrm>
            <a:off x="578599" y="5123112"/>
            <a:ext cx="1301318" cy="382486"/>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50973">
              <a:defRPr/>
            </a:pPr>
            <a:r>
              <a:rPr lang="en-US" sz="1223" kern="0" dirty="0">
                <a:solidFill>
                  <a:prstClr val="black"/>
                </a:solidFill>
                <a:latin typeface="Segoe UI"/>
              </a:rPr>
              <a:t>Customer Table</a:t>
            </a:r>
          </a:p>
        </p:txBody>
      </p:sp>
      <p:sp>
        <p:nvSpPr>
          <p:cNvPr id="141" name="Rectangle 140"/>
          <p:cNvSpPr/>
          <p:nvPr/>
        </p:nvSpPr>
        <p:spPr bwMode="auto">
          <a:xfrm>
            <a:off x="9741795" y="5221396"/>
            <a:ext cx="2081788" cy="1240448"/>
          </a:xfrm>
          <a:prstGeom prst="rect">
            <a:avLst/>
          </a:prstGeom>
          <a:solidFill>
            <a:srgbClr val="FFFFFF">
              <a:lumMod val="85000"/>
            </a:srgbClr>
          </a:solidFill>
          <a:ln w="9525" cap="flat" cmpd="sng" algn="ctr">
            <a:noFill/>
            <a:prstDash val="solid"/>
            <a:headEnd type="none" w="med" len="med"/>
            <a:tailEnd type="none" w="med" len="med"/>
          </a:ln>
          <a:effectLst/>
        </p:spPr>
        <p:txBody>
          <a:bodyPr lIns="93247" tIns="93247" rIns="34972" bIns="34972" rtlCol="0" anchor="ctr" anchorCtr="0"/>
          <a:lstStyle/>
          <a:p>
            <a:pPr algn="ctr" defTabSz="950778">
              <a:defRPr/>
            </a:pPr>
            <a:endParaRPr lang="en-US" sz="1632" kern="0" dirty="0">
              <a:solidFill>
                <a:srgbClr val="505050"/>
              </a:solidFill>
              <a:latin typeface="Segoe UI"/>
              <a:ea typeface="Segoe UI" pitchFamily="34" charset="0"/>
              <a:cs typeface="Segoe UI" pitchFamily="34" charset="0"/>
            </a:endParaRPr>
          </a:p>
        </p:txBody>
      </p:sp>
      <p:sp>
        <p:nvSpPr>
          <p:cNvPr id="142" name="TextBox 141"/>
          <p:cNvSpPr txBox="1"/>
          <p:nvPr/>
        </p:nvSpPr>
        <p:spPr>
          <a:xfrm>
            <a:off x="10119247" y="6093765"/>
            <a:ext cx="1203667" cy="499037"/>
          </a:xfrm>
          <a:prstGeom prst="rect">
            <a:avLst/>
          </a:prstGeom>
          <a:noFill/>
        </p:spPr>
        <p:txBody>
          <a:bodyPr wrap="square" lIns="186494" tIns="149196" rIns="186494" bIns="149196" rtlCol="0">
            <a:spAutoFit/>
          </a:bodyPr>
          <a:lstStyle/>
          <a:p>
            <a:pPr defTabSz="914224">
              <a:lnSpc>
                <a:spcPct val="90000"/>
              </a:lnSpc>
              <a:spcAft>
                <a:spcPts val="612"/>
              </a:spcAft>
              <a:defRPr/>
            </a:pPr>
            <a:r>
              <a:rPr lang="en-US" sz="1428" kern="0" dirty="0">
                <a:gradFill>
                  <a:gsLst>
                    <a:gs pos="2917">
                      <a:srgbClr val="505050"/>
                    </a:gs>
                    <a:gs pos="30000">
                      <a:srgbClr val="505050"/>
                    </a:gs>
                  </a:gsLst>
                  <a:lin ang="5400000" scaled="0"/>
                </a:gradFill>
              </a:rPr>
              <a:t>Azure DB</a:t>
            </a:r>
          </a:p>
        </p:txBody>
      </p:sp>
      <p:pic>
        <p:nvPicPr>
          <p:cNvPr id="143" name="Picture 14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833374" y="6059477"/>
            <a:ext cx="388647" cy="388647"/>
          </a:xfrm>
          <a:prstGeom prst="rect">
            <a:avLst/>
          </a:prstGeom>
        </p:spPr>
      </p:pic>
      <p:cxnSp>
        <p:nvCxnSpPr>
          <p:cNvPr id="144" name="Straight Connector 143"/>
          <p:cNvCxnSpPr/>
          <p:nvPr/>
        </p:nvCxnSpPr>
        <p:spPr>
          <a:xfrm>
            <a:off x="9761291" y="4789195"/>
            <a:ext cx="547895" cy="854058"/>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45" name="Rectangle 144"/>
          <p:cNvSpPr/>
          <p:nvPr/>
        </p:nvSpPr>
        <p:spPr>
          <a:xfrm>
            <a:off x="10338148" y="5419338"/>
            <a:ext cx="1060955" cy="589809"/>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50973">
              <a:defRPr/>
            </a:pPr>
            <a:r>
              <a:rPr lang="en-US" sz="1223" kern="0" dirty="0">
                <a:solidFill>
                  <a:prstClr val="black"/>
                </a:solidFill>
                <a:latin typeface="Segoe UI"/>
              </a:rPr>
              <a:t>Customer Churn Table</a:t>
            </a:r>
          </a:p>
        </p:txBody>
      </p:sp>
      <p:sp>
        <p:nvSpPr>
          <p:cNvPr id="146" name="Rounded Rectangle 145"/>
          <p:cNvSpPr/>
          <p:nvPr/>
        </p:nvSpPr>
        <p:spPr bwMode="auto">
          <a:xfrm>
            <a:off x="10484831" y="4005510"/>
            <a:ext cx="1405177" cy="758750"/>
          </a:xfrm>
          <a:prstGeom prst="roundRect">
            <a:avLst/>
          </a:prstGeom>
          <a:noFill/>
          <a:ln w="9525" cap="flat" cmpd="sng" algn="ctr">
            <a:solidFill>
              <a:srgbClr val="505050">
                <a:lumMod val="50000"/>
                <a:lumOff val="50000"/>
              </a:srgbClr>
            </a:solidFill>
            <a:prstDash val="solid"/>
            <a:headEnd type="none" w="med" len="med"/>
            <a:tailEnd type="none" w="med" len="med"/>
          </a:ln>
          <a:effectLst/>
        </p:spPr>
        <p:txBody>
          <a:bodyPr lIns="91427" tIns="91427" rIns="34289" bIns="34289" rtlCol="0" anchor="b" anchorCtr="0"/>
          <a:lstStyle/>
          <a:p>
            <a:pPr algn="ctr" defTabSz="932227">
              <a:defRPr/>
            </a:pPr>
            <a:endParaRPr lang="en-US" sz="8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7" name="TextBox 146"/>
          <p:cNvSpPr txBox="1"/>
          <p:nvPr/>
        </p:nvSpPr>
        <p:spPr>
          <a:xfrm>
            <a:off x="10802915" y="4148281"/>
            <a:ext cx="1281387" cy="690680"/>
          </a:xfrm>
          <a:prstGeom prst="rect">
            <a:avLst/>
          </a:prstGeom>
          <a:noFill/>
        </p:spPr>
        <p:txBody>
          <a:bodyPr wrap="square" lIns="182854" tIns="146283" rIns="182854" bIns="146283" rtlCol="0">
            <a:spAutoFit/>
          </a:bodyPr>
          <a:lstStyle/>
          <a:p>
            <a:pPr defTabSz="914224">
              <a:lnSpc>
                <a:spcPct val="90000"/>
              </a:lnSpc>
              <a:spcAft>
                <a:spcPts val="600"/>
              </a:spcAft>
              <a:defRPr/>
            </a:pPr>
            <a:r>
              <a:rPr lang="en-US" sz="1399" kern="0" dirty="0">
                <a:gradFill>
                  <a:gsLst>
                    <a:gs pos="2917">
                      <a:srgbClr val="505050"/>
                    </a:gs>
                    <a:gs pos="30000">
                      <a:srgbClr val="505050"/>
                    </a:gs>
                  </a:gsLst>
                  <a:lin ang="5400000" scaled="0"/>
                </a:gradFill>
              </a:rPr>
              <a:t>Act (Visualize)</a:t>
            </a:r>
          </a:p>
        </p:txBody>
      </p:sp>
      <p:pic>
        <p:nvPicPr>
          <p:cNvPr id="148" name="Picture 147"/>
          <p:cNvPicPr>
            <a:picLocks noChangeAspect="1"/>
          </p:cNvPicPr>
          <p:nvPr/>
        </p:nvPicPr>
        <p:blipFill>
          <a:blip r:embed="rId5"/>
          <a:stretch>
            <a:fillRect/>
          </a:stretch>
        </p:blipFill>
        <p:spPr>
          <a:xfrm>
            <a:off x="10566625" y="4225785"/>
            <a:ext cx="307448" cy="269544"/>
          </a:xfrm>
          <a:prstGeom prst="rect">
            <a:avLst/>
          </a:prstGeom>
        </p:spPr>
      </p:pic>
      <p:cxnSp>
        <p:nvCxnSpPr>
          <p:cNvPr id="149" name="Straight Arrow Connector 148"/>
          <p:cNvCxnSpPr/>
          <p:nvPr/>
        </p:nvCxnSpPr>
        <p:spPr>
          <a:xfrm flipV="1">
            <a:off x="10912367" y="4821267"/>
            <a:ext cx="0" cy="533488"/>
          </a:xfrm>
          <a:prstGeom prst="straightConnector1">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61" name="Rectangle 160"/>
          <p:cNvSpPr/>
          <p:nvPr/>
        </p:nvSpPr>
        <p:spPr bwMode="auto">
          <a:xfrm>
            <a:off x="4532828" y="3746084"/>
            <a:ext cx="5805320" cy="1267580"/>
          </a:xfrm>
          <a:prstGeom prst="rect">
            <a:avLst/>
          </a:prstGeom>
          <a:noFill/>
          <a:ln w="25400" cap="flat" cmpd="sng" algn="ctr">
            <a:solidFill>
              <a:srgbClr val="0078D7">
                <a:lumMod val="75000"/>
              </a:srgbClr>
            </a:solidFill>
            <a:prstDash val="solid"/>
            <a:headEnd type="none" w="med" len="med"/>
            <a:tailEnd type="none" w="med" len="med"/>
          </a:ln>
          <a:effectLst/>
        </p:spPr>
        <p:txBody>
          <a:bodyPr lIns="91427" tIns="91427" rIns="34289" bIns="34289" rtlCol="0" anchor="b" anchorCtr="0"/>
          <a:lstStyle/>
          <a:p>
            <a:pPr algn="ctr" defTabSz="932227">
              <a:defRPr/>
            </a:pPr>
            <a:endParaRPr lang="en-US" sz="8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3" name="TextBox 192"/>
          <p:cNvSpPr txBox="1"/>
          <p:nvPr/>
        </p:nvSpPr>
        <p:spPr>
          <a:xfrm>
            <a:off x="427859" y="1486753"/>
            <a:ext cx="11400948" cy="882424"/>
          </a:xfrm>
          <a:prstGeom prst="rect">
            <a:avLst/>
          </a:prstGeom>
        </p:spPr>
        <p:style>
          <a:lnRef idx="2">
            <a:schemeClr val="accent4"/>
          </a:lnRef>
          <a:fillRef idx="1">
            <a:schemeClr val="lt1"/>
          </a:fillRef>
          <a:effectRef idx="0">
            <a:schemeClr val="accent4"/>
          </a:effectRef>
          <a:fontRef idx="minor">
            <a:schemeClr val="dk1"/>
          </a:fontRef>
        </p:style>
        <p:txBody>
          <a:bodyPr wrap="square" lIns="182854" tIns="146283" rIns="182854" bIns="146283" rtlCol="0">
            <a:spAutoFit/>
          </a:bodyPr>
          <a:lstStyle/>
          <a:p>
            <a:pPr defTabSz="914224">
              <a:lnSpc>
                <a:spcPct val="90000"/>
              </a:lnSpc>
              <a:spcAft>
                <a:spcPts val="600"/>
              </a:spcAft>
              <a:defRPr/>
            </a:pPr>
            <a:r>
              <a:rPr lang="en-US" kern="0" dirty="0">
                <a:solidFill>
                  <a:schemeClr val="accent4">
                    <a:lumMod val="75000"/>
                  </a:schemeClr>
                </a:solidFill>
              </a:rPr>
              <a:t>Azure Data </a:t>
            </a:r>
          </a:p>
          <a:p>
            <a:pPr defTabSz="914224">
              <a:lnSpc>
                <a:spcPct val="90000"/>
              </a:lnSpc>
              <a:spcAft>
                <a:spcPts val="600"/>
              </a:spcAft>
              <a:defRPr/>
            </a:pPr>
            <a:r>
              <a:rPr lang="en-US" kern="0" dirty="0">
                <a:solidFill>
                  <a:schemeClr val="accent4">
                    <a:lumMod val="75000"/>
                  </a:schemeClr>
                </a:solidFill>
              </a:rPr>
              <a:t>Factory:</a:t>
            </a:r>
          </a:p>
        </p:txBody>
      </p:sp>
      <p:sp>
        <p:nvSpPr>
          <p:cNvPr id="154" name="TextBox 153"/>
          <p:cNvSpPr txBox="1"/>
          <p:nvPr/>
        </p:nvSpPr>
        <p:spPr>
          <a:xfrm>
            <a:off x="5209222" y="1544718"/>
            <a:ext cx="2790927" cy="647426"/>
          </a:xfrm>
          <a:prstGeom prst="rect">
            <a:avLst/>
          </a:prstGeom>
          <a:noFill/>
        </p:spPr>
        <p:txBody>
          <a:bodyPr wrap="square" lIns="186494" tIns="149196" rIns="186494" bIns="149196" rtlCol="0">
            <a:spAutoFit/>
          </a:bodyPr>
          <a:lstStyle/>
          <a:p>
            <a:pPr defTabSz="914224">
              <a:lnSpc>
                <a:spcPct val="90000"/>
              </a:lnSpc>
              <a:defRPr/>
            </a:pPr>
            <a:r>
              <a:rPr lang="en-US" sz="1599" b="1" kern="0" dirty="0">
                <a:gradFill>
                  <a:gsLst>
                    <a:gs pos="2917">
                      <a:srgbClr val="505050"/>
                    </a:gs>
                    <a:gs pos="30000">
                      <a:srgbClr val="505050"/>
                    </a:gs>
                  </a:gsLst>
                  <a:lin ang="5400000" scaled="0"/>
                </a:gradFill>
              </a:rPr>
              <a:t>Activity</a:t>
            </a:r>
            <a:r>
              <a:rPr lang="en-US" sz="1599" kern="0" dirty="0">
                <a:gradFill>
                  <a:gsLst>
                    <a:gs pos="2917">
                      <a:srgbClr val="505050"/>
                    </a:gs>
                    <a:gs pos="30000">
                      <a:srgbClr val="505050"/>
                    </a:gs>
                  </a:gsLst>
                  <a:lin ang="5400000" scaled="0"/>
                </a:gradFill>
              </a:rPr>
              <a:t>: a processing step </a:t>
            </a:r>
          </a:p>
          <a:p>
            <a:pPr defTabSz="914224">
              <a:lnSpc>
                <a:spcPct val="90000"/>
              </a:lnSpc>
              <a:defRPr/>
            </a:pPr>
            <a:r>
              <a:rPr lang="en-US" sz="900" kern="0" dirty="0">
                <a:gradFill>
                  <a:gsLst>
                    <a:gs pos="2917">
                      <a:srgbClr val="505050"/>
                    </a:gs>
                    <a:gs pos="30000">
                      <a:srgbClr val="505050"/>
                    </a:gs>
                  </a:gsLst>
                  <a:lin ang="5400000" scaled="0"/>
                </a:gradFill>
              </a:rPr>
              <a:t>(Hadoop job, custom code, ML model, etc)</a:t>
            </a:r>
          </a:p>
        </p:txBody>
      </p:sp>
      <p:pic>
        <p:nvPicPr>
          <p:cNvPr id="158" name="Picture 157"/>
          <p:cNvPicPr>
            <a:picLocks noChangeAspect="1"/>
          </p:cNvPicPr>
          <p:nvPr/>
        </p:nvPicPr>
        <p:blipFill>
          <a:blip r:embed="rId6"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4928756" y="1667138"/>
            <a:ext cx="416513" cy="416513"/>
          </a:xfrm>
          <a:prstGeom prst="rect">
            <a:avLst/>
          </a:prstGeom>
        </p:spPr>
      </p:pic>
      <p:pic>
        <p:nvPicPr>
          <p:cNvPr id="122" name="Picture 121"/>
          <p:cNvPicPr>
            <a:picLocks noChangeAspect="1"/>
          </p:cNvPicPr>
          <p:nvPr/>
        </p:nvPicPr>
        <p:blipFill>
          <a:blip r:embed="rId6"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627227" y="1667138"/>
            <a:ext cx="416513" cy="416513"/>
          </a:xfrm>
          <a:prstGeom prst="rect">
            <a:avLst/>
          </a:prstGeom>
        </p:spPr>
      </p:pic>
      <p:sp>
        <p:nvSpPr>
          <p:cNvPr id="150" name="TextBox 149"/>
          <p:cNvSpPr txBox="1"/>
          <p:nvPr/>
        </p:nvSpPr>
        <p:spPr>
          <a:xfrm>
            <a:off x="2941723" y="1544718"/>
            <a:ext cx="1328396" cy="781448"/>
          </a:xfrm>
          <a:prstGeom prst="rect">
            <a:avLst/>
          </a:prstGeom>
          <a:noFill/>
        </p:spPr>
        <p:txBody>
          <a:bodyPr wrap="square" lIns="186494" tIns="149196" rIns="186494" bIns="149196" rtlCol="0">
            <a:spAutoFit/>
          </a:bodyPr>
          <a:lstStyle/>
          <a:p>
            <a:pPr defTabSz="914224">
              <a:lnSpc>
                <a:spcPct val="90000"/>
              </a:lnSpc>
              <a:defRPr/>
            </a:pPr>
            <a:r>
              <a:rPr lang="en-US" sz="1599" b="1" kern="0" dirty="0">
                <a:gradFill>
                  <a:gsLst>
                    <a:gs pos="2917">
                      <a:srgbClr val="505050"/>
                    </a:gs>
                    <a:gs pos="30000">
                      <a:srgbClr val="505050"/>
                    </a:gs>
                  </a:gsLst>
                  <a:lin ang="5400000" scaled="0"/>
                </a:gradFill>
              </a:rPr>
              <a:t>Data Set</a:t>
            </a:r>
          </a:p>
          <a:p>
            <a:pPr defTabSz="914224">
              <a:lnSpc>
                <a:spcPct val="90000"/>
              </a:lnSpc>
              <a:defRPr/>
            </a:pPr>
            <a:r>
              <a:rPr lang="en-US" sz="900" kern="0" dirty="0">
                <a:gradFill>
                  <a:gsLst>
                    <a:gs pos="2917">
                      <a:srgbClr val="505050"/>
                    </a:gs>
                    <a:gs pos="30000">
                      <a:srgbClr val="505050"/>
                    </a:gs>
                  </a:gsLst>
                  <a:lin ang="5400000" scaled="0"/>
                </a:gradFill>
              </a:rPr>
              <a:t>(Collection of files, DB table, etc)</a:t>
            </a:r>
          </a:p>
        </p:txBody>
      </p:sp>
      <p:sp>
        <p:nvSpPr>
          <p:cNvPr id="160" name="TextBox 159"/>
          <p:cNvSpPr txBox="1"/>
          <p:nvPr/>
        </p:nvSpPr>
        <p:spPr>
          <a:xfrm>
            <a:off x="8779452" y="1559182"/>
            <a:ext cx="2848218" cy="880196"/>
          </a:xfrm>
          <a:prstGeom prst="rect">
            <a:avLst/>
          </a:prstGeom>
          <a:noFill/>
        </p:spPr>
        <p:txBody>
          <a:bodyPr wrap="square" lIns="186494" tIns="149196" rIns="186494" bIns="149196" rtlCol="0">
            <a:spAutoFit/>
          </a:bodyPr>
          <a:lstStyle/>
          <a:p>
            <a:pPr defTabSz="914224">
              <a:lnSpc>
                <a:spcPct val="90000"/>
              </a:lnSpc>
              <a:defRPr/>
            </a:pPr>
            <a:r>
              <a:rPr lang="en-US" sz="1599" b="1" kern="0" dirty="0">
                <a:gradFill>
                  <a:gsLst>
                    <a:gs pos="2917">
                      <a:srgbClr val="505050"/>
                    </a:gs>
                    <a:gs pos="30000">
                      <a:srgbClr val="505050"/>
                    </a:gs>
                  </a:gsLst>
                  <a:lin ang="5400000" scaled="0"/>
                </a:gradFill>
              </a:rPr>
              <a:t>Pipeline</a:t>
            </a:r>
            <a:r>
              <a:rPr lang="en-US" sz="1599" kern="0" dirty="0">
                <a:gradFill>
                  <a:gsLst>
                    <a:gs pos="2917">
                      <a:srgbClr val="505050"/>
                    </a:gs>
                    <a:gs pos="30000">
                      <a:srgbClr val="505050"/>
                    </a:gs>
                  </a:gsLst>
                  <a:lin ang="5400000" scaled="0"/>
                </a:gradFill>
              </a:rPr>
              <a:t>: a logical group of activities</a:t>
            </a:r>
          </a:p>
          <a:p>
            <a:pPr defTabSz="914224">
              <a:lnSpc>
                <a:spcPct val="90000"/>
              </a:lnSpc>
              <a:defRPr/>
            </a:pPr>
            <a:endParaRPr lang="en-US" sz="900" kern="0" dirty="0">
              <a:gradFill>
                <a:gsLst>
                  <a:gs pos="2917">
                    <a:srgbClr val="505050"/>
                  </a:gs>
                  <a:gs pos="30000">
                    <a:srgbClr val="505050"/>
                  </a:gs>
                </a:gsLst>
                <a:lin ang="5400000" scaled="0"/>
              </a:gradFill>
            </a:endParaRPr>
          </a:p>
        </p:txBody>
      </p:sp>
      <p:pic>
        <p:nvPicPr>
          <p:cNvPr id="163" name="Picture 162"/>
          <p:cNvPicPr>
            <a:picLocks noChangeAspect="1"/>
          </p:cNvPicPr>
          <p:nvPr/>
        </p:nvPicPr>
        <p:blipFill>
          <a:blip r:embed="rId6"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8503913" y="1722530"/>
            <a:ext cx="416513" cy="416513"/>
          </a:xfrm>
          <a:prstGeom prst="rect">
            <a:avLst/>
          </a:prstGeom>
        </p:spPr>
      </p:pic>
      <p:sp>
        <p:nvSpPr>
          <p:cNvPr id="166" name="TextBox 165"/>
          <p:cNvSpPr txBox="1"/>
          <p:nvPr/>
        </p:nvSpPr>
        <p:spPr>
          <a:xfrm>
            <a:off x="419822" y="2961579"/>
            <a:ext cx="1752352" cy="544688"/>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wrap="square" lIns="182854" tIns="146283" rIns="182854" bIns="146283" rtlCol="0">
            <a:spAutoFit/>
          </a:bodyPr>
          <a:lstStyle/>
          <a:p>
            <a:pPr defTabSz="914224">
              <a:lnSpc>
                <a:spcPct val="90000"/>
              </a:lnSpc>
              <a:spcAft>
                <a:spcPts val="600"/>
              </a:spcAft>
              <a:defRPr/>
            </a:pPr>
            <a:r>
              <a:rPr lang="en-US" kern="0" dirty="0">
                <a:solidFill>
                  <a:srgbClr val="FFFFFF"/>
                </a:solidFill>
              </a:rPr>
              <a:t>Data Sources</a:t>
            </a:r>
          </a:p>
        </p:txBody>
      </p:sp>
      <p:sp>
        <p:nvSpPr>
          <p:cNvPr id="191" name="Rectangle 190"/>
          <p:cNvSpPr/>
          <p:nvPr/>
        </p:nvSpPr>
        <p:spPr>
          <a:xfrm>
            <a:off x="8401270" y="5429887"/>
            <a:ext cx="957214" cy="594201"/>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50973">
              <a:defRPr/>
            </a:pPr>
            <a:r>
              <a:rPr lang="en-US" sz="1223" kern="0" dirty="0">
                <a:solidFill>
                  <a:prstClr val="black"/>
                </a:solidFill>
                <a:latin typeface="Segoe UI"/>
              </a:rPr>
              <a:t>Customers Likely to Churn</a:t>
            </a:r>
          </a:p>
        </p:txBody>
      </p:sp>
      <p:sp>
        <p:nvSpPr>
          <p:cNvPr id="180" name="Rounded Rectangle 179"/>
          <p:cNvSpPr/>
          <p:nvPr/>
        </p:nvSpPr>
        <p:spPr bwMode="auto">
          <a:xfrm>
            <a:off x="7132508" y="4002369"/>
            <a:ext cx="1371405" cy="758750"/>
          </a:xfrm>
          <a:prstGeom prst="roundRect">
            <a:avLst/>
          </a:prstGeom>
          <a:solidFill>
            <a:srgbClr val="FFFFFF"/>
          </a:solidFill>
          <a:ln w="9525" cap="flat" cmpd="sng" algn="ctr">
            <a:solidFill>
              <a:srgbClr val="505050">
                <a:lumMod val="50000"/>
                <a:lumOff val="50000"/>
              </a:srgbClr>
            </a:solidFill>
            <a:prstDash val="solid"/>
            <a:headEnd type="none" w="med" len="med"/>
            <a:tailEnd type="none" w="med" len="med"/>
          </a:ln>
          <a:effectLst/>
        </p:spPr>
        <p:txBody>
          <a:bodyPr lIns="91427" tIns="91427" rIns="34289" bIns="34289" rtlCol="0" anchor="b" anchorCtr="0"/>
          <a:lstStyle/>
          <a:p>
            <a:pPr algn="ctr" defTabSz="932227">
              <a:defRPr/>
            </a:pPr>
            <a:endParaRPr lang="en-US" sz="8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82" name="Picture 18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208789" y="4247587"/>
            <a:ext cx="313525" cy="313525"/>
          </a:xfrm>
          <a:prstGeom prst="rect">
            <a:avLst/>
          </a:prstGeom>
        </p:spPr>
      </p:pic>
      <p:cxnSp>
        <p:nvCxnSpPr>
          <p:cNvPr id="155" name="Straight Arrow Connector 154"/>
          <p:cNvCxnSpPr>
            <a:stCxn id="154" idx="2"/>
          </p:cNvCxnSpPr>
          <p:nvPr/>
        </p:nvCxnSpPr>
        <p:spPr>
          <a:xfrm flipH="1">
            <a:off x="5664792" y="2192144"/>
            <a:ext cx="939894" cy="1805828"/>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sp>
        <p:nvSpPr>
          <p:cNvPr id="190" name="Rectangle 189"/>
          <p:cNvSpPr/>
          <p:nvPr/>
        </p:nvSpPr>
        <p:spPr>
          <a:xfrm>
            <a:off x="5985400" y="5434278"/>
            <a:ext cx="1060955" cy="589809"/>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50973">
              <a:defRPr/>
            </a:pPr>
            <a:r>
              <a:rPr lang="en-US" sz="1223" kern="0" dirty="0">
                <a:solidFill>
                  <a:prstClr val="black"/>
                </a:solidFill>
                <a:latin typeface="Segoe UI"/>
              </a:rPr>
              <a:t>Customer Call Details</a:t>
            </a:r>
          </a:p>
        </p:txBody>
      </p:sp>
      <p:cxnSp>
        <p:nvCxnSpPr>
          <p:cNvPr id="184" name="Straight Connector 183"/>
          <p:cNvCxnSpPr>
            <a:stCxn id="177" idx="2"/>
            <a:endCxn id="190" idx="1"/>
          </p:cNvCxnSpPr>
          <p:nvPr/>
        </p:nvCxnSpPr>
        <p:spPr>
          <a:xfrm>
            <a:off x="5649569" y="4761120"/>
            <a:ext cx="335831" cy="968062"/>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56" name="Straight Arrow Connector 155"/>
          <p:cNvCxnSpPr>
            <a:stCxn id="154" idx="2"/>
            <a:endCxn id="180" idx="0"/>
          </p:cNvCxnSpPr>
          <p:nvPr/>
        </p:nvCxnSpPr>
        <p:spPr>
          <a:xfrm>
            <a:off x="6604686" y="2192144"/>
            <a:ext cx="1213525" cy="1810225"/>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sp>
        <p:nvSpPr>
          <p:cNvPr id="181" name="TextBox 180"/>
          <p:cNvSpPr txBox="1"/>
          <p:nvPr/>
        </p:nvSpPr>
        <p:spPr>
          <a:xfrm>
            <a:off x="7437265" y="4165600"/>
            <a:ext cx="1065270" cy="489295"/>
          </a:xfrm>
          <a:prstGeom prst="rect">
            <a:avLst/>
          </a:prstGeom>
          <a:noFill/>
        </p:spPr>
        <p:txBody>
          <a:bodyPr wrap="square" lIns="182854" tIns="146283" rIns="182854" bIns="146283" rtlCol="0">
            <a:spAutoFit/>
          </a:bodyPr>
          <a:lstStyle/>
          <a:p>
            <a:pPr defTabSz="914224">
              <a:lnSpc>
                <a:spcPct val="90000"/>
              </a:lnSpc>
              <a:spcAft>
                <a:spcPts val="600"/>
              </a:spcAft>
              <a:defRPr/>
            </a:pPr>
            <a:r>
              <a:rPr lang="en-US" sz="1399" kern="0" dirty="0">
                <a:gradFill>
                  <a:gsLst>
                    <a:gs pos="2917">
                      <a:srgbClr val="505050"/>
                    </a:gs>
                    <a:gs pos="30000">
                      <a:srgbClr val="505050"/>
                    </a:gs>
                  </a:gsLst>
                  <a:lin ang="5400000" scaled="0"/>
                </a:gradFill>
              </a:rPr>
              <a:t>Analyze </a:t>
            </a:r>
          </a:p>
        </p:txBody>
      </p:sp>
      <p:cxnSp>
        <p:nvCxnSpPr>
          <p:cNvPr id="185" name="Straight Arrow Connector 184"/>
          <p:cNvCxnSpPr>
            <a:stCxn id="190" idx="3"/>
          </p:cNvCxnSpPr>
          <p:nvPr/>
        </p:nvCxnSpPr>
        <p:spPr>
          <a:xfrm flipV="1">
            <a:off x="7046355" y="4778853"/>
            <a:ext cx="390909" cy="950330"/>
          </a:xfrm>
          <a:prstGeom prst="straightConnector1">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86" name="Straight Connector 185"/>
          <p:cNvCxnSpPr/>
          <p:nvPr/>
        </p:nvCxnSpPr>
        <p:spPr>
          <a:xfrm>
            <a:off x="8051047" y="4778853"/>
            <a:ext cx="335831" cy="864401"/>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87" name="Rounded Rectangle 186"/>
          <p:cNvSpPr/>
          <p:nvPr/>
        </p:nvSpPr>
        <p:spPr bwMode="auto">
          <a:xfrm>
            <a:off x="8968679" y="4000377"/>
            <a:ext cx="1059018" cy="758750"/>
          </a:xfrm>
          <a:prstGeom prst="roundRect">
            <a:avLst/>
          </a:prstGeom>
          <a:solidFill>
            <a:srgbClr val="FFFFFF"/>
          </a:solidFill>
          <a:ln w="9525" cap="flat" cmpd="sng" algn="ctr">
            <a:solidFill>
              <a:srgbClr val="505050">
                <a:lumMod val="50000"/>
                <a:lumOff val="50000"/>
              </a:srgbClr>
            </a:solidFill>
            <a:prstDash val="solid"/>
            <a:headEnd type="none" w="med" len="med"/>
            <a:tailEnd type="none" w="med" len="med"/>
          </a:ln>
          <a:effectLst/>
        </p:spPr>
        <p:txBody>
          <a:bodyPr lIns="91427" tIns="91427" rIns="34289" bIns="34289" rtlCol="0" anchor="b" anchorCtr="0"/>
          <a:lstStyle/>
          <a:p>
            <a:pPr algn="ctr" defTabSz="932227">
              <a:defRPr/>
            </a:pPr>
            <a:endParaRPr lang="en-US" sz="8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8" name="TextBox 187"/>
          <p:cNvSpPr txBox="1"/>
          <p:nvPr/>
        </p:nvSpPr>
        <p:spPr>
          <a:xfrm>
            <a:off x="9273436" y="4163608"/>
            <a:ext cx="1065270" cy="489295"/>
          </a:xfrm>
          <a:prstGeom prst="rect">
            <a:avLst/>
          </a:prstGeom>
          <a:noFill/>
        </p:spPr>
        <p:txBody>
          <a:bodyPr wrap="square" lIns="182854" tIns="146283" rIns="182854" bIns="146283" rtlCol="0">
            <a:spAutoFit/>
          </a:bodyPr>
          <a:lstStyle/>
          <a:p>
            <a:pPr defTabSz="914224">
              <a:lnSpc>
                <a:spcPct val="90000"/>
              </a:lnSpc>
              <a:spcAft>
                <a:spcPts val="600"/>
              </a:spcAft>
              <a:defRPr/>
            </a:pPr>
            <a:r>
              <a:rPr lang="en-US" sz="1399" kern="0" dirty="0">
                <a:gradFill>
                  <a:gsLst>
                    <a:gs pos="2917">
                      <a:srgbClr val="505050"/>
                    </a:gs>
                    <a:gs pos="30000">
                      <a:srgbClr val="505050"/>
                    </a:gs>
                  </a:gsLst>
                  <a:lin ang="5400000" scaled="0"/>
                </a:gradFill>
              </a:rPr>
              <a:t>Move</a:t>
            </a:r>
          </a:p>
        </p:txBody>
      </p:sp>
      <p:cxnSp>
        <p:nvCxnSpPr>
          <p:cNvPr id="189" name="Straight Arrow Connector 188"/>
          <p:cNvCxnSpPr>
            <a:endCxn id="187" idx="2"/>
          </p:cNvCxnSpPr>
          <p:nvPr/>
        </p:nvCxnSpPr>
        <p:spPr>
          <a:xfrm flipV="1">
            <a:off x="9372876" y="4759127"/>
            <a:ext cx="125312" cy="1016178"/>
          </a:xfrm>
          <a:prstGeom prst="straightConnector1">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77" name="Rounded Rectangle 176"/>
          <p:cNvSpPr/>
          <p:nvPr/>
        </p:nvSpPr>
        <p:spPr bwMode="auto">
          <a:xfrm>
            <a:off x="4694453" y="4002369"/>
            <a:ext cx="1910231" cy="758750"/>
          </a:xfrm>
          <a:prstGeom prst="roundRect">
            <a:avLst/>
          </a:prstGeom>
          <a:solidFill>
            <a:srgbClr val="FFFFFF"/>
          </a:solidFill>
          <a:ln w="9525" cap="flat" cmpd="sng" algn="ctr">
            <a:solidFill>
              <a:srgbClr val="505050">
                <a:lumMod val="50000"/>
                <a:lumOff val="50000"/>
              </a:srgbClr>
            </a:solidFill>
            <a:prstDash val="solid"/>
            <a:headEnd type="none" w="med" len="med"/>
            <a:tailEnd type="none" w="med" len="med"/>
          </a:ln>
          <a:effectLst/>
        </p:spPr>
        <p:txBody>
          <a:bodyPr lIns="91427" tIns="91427" rIns="34289" bIns="34289" rtlCol="0" anchor="b" anchorCtr="0"/>
          <a:lstStyle/>
          <a:p>
            <a:pPr algn="ctr" defTabSz="932227">
              <a:defRPr/>
            </a:pPr>
            <a:endParaRPr lang="en-US" sz="8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78" name="Picture 17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794806" y="4150155"/>
            <a:ext cx="407255" cy="407255"/>
          </a:xfrm>
          <a:prstGeom prst="rect">
            <a:avLst/>
          </a:prstGeom>
        </p:spPr>
      </p:pic>
      <p:sp>
        <p:nvSpPr>
          <p:cNvPr id="179" name="TextBox 178"/>
          <p:cNvSpPr txBox="1"/>
          <p:nvPr/>
        </p:nvSpPr>
        <p:spPr>
          <a:xfrm>
            <a:off x="5143955" y="4038840"/>
            <a:ext cx="1607607" cy="690680"/>
          </a:xfrm>
          <a:prstGeom prst="rect">
            <a:avLst/>
          </a:prstGeom>
          <a:noFill/>
        </p:spPr>
        <p:txBody>
          <a:bodyPr wrap="square" lIns="182854" tIns="146283" rIns="182854" bIns="146283" rtlCol="0">
            <a:spAutoFit/>
          </a:bodyPr>
          <a:lstStyle/>
          <a:p>
            <a:pPr defTabSz="914224">
              <a:lnSpc>
                <a:spcPct val="90000"/>
              </a:lnSpc>
              <a:spcAft>
                <a:spcPts val="600"/>
              </a:spcAft>
              <a:defRPr/>
            </a:pPr>
            <a:r>
              <a:rPr lang="en-US" sz="1399" kern="0" dirty="0">
                <a:gradFill>
                  <a:gsLst>
                    <a:gs pos="2917">
                      <a:srgbClr val="505050"/>
                    </a:gs>
                    <a:gs pos="30000">
                      <a:srgbClr val="505050"/>
                    </a:gs>
                  </a:gsLst>
                  <a:lin ang="5400000" scaled="0"/>
                </a:gradFill>
              </a:rPr>
              <a:t>Transform, Combine, etc</a:t>
            </a:r>
          </a:p>
        </p:txBody>
      </p:sp>
      <p:cxnSp>
        <p:nvCxnSpPr>
          <p:cNvPr id="183" name="Elbow Connector 182"/>
          <p:cNvCxnSpPr>
            <a:endCxn id="177" idx="1"/>
          </p:cNvCxnSpPr>
          <p:nvPr/>
        </p:nvCxnSpPr>
        <p:spPr>
          <a:xfrm flipV="1">
            <a:off x="4299492" y="4381744"/>
            <a:ext cx="394962" cy="11184"/>
          </a:xfrm>
          <a:prstGeom prst="bentConnector3">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74" name="Straight Arrow Connector 173"/>
          <p:cNvCxnSpPr>
            <a:stCxn id="119" idx="3"/>
          </p:cNvCxnSpPr>
          <p:nvPr/>
        </p:nvCxnSpPr>
        <p:spPr>
          <a:xfrm flipV="1">
            <a:off x="4291617" y="4485035"/>
            <a:ext cx="402837" cy="468929"/>
          </a:xfrm>
          <a:prstGeom prst="straightConnector1">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172" name="Picture 17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056438" y="4257790"/>
            <a:ext cx="303321" cy="303321"/>
          </a:xfrm>
          <a:prstGeom prst="rect">
            <a:avLst/>
          </a:prstGeom>
        </p:spPr>
      </p:pic>
      <p:cxnSp>
        <p:nvCxnSpPr>
          <p:cNvPr id="157" name="Straight Arrow Connector 156"/>
          <p:cNvCxnSpPr>
            <a:stCxn id="154" idx="2"/>
          </p:cNvCxnSpPr>
          <p:nvPr/>
        </p:nvCxnSpPr>
        <p:spPr>
          <a:xfrm>
            <a:off x="6604686" y="2192144"/>
            <a:ext cx="2603413" cy="1826679"/>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cxnSp>
        <p:nvCxnSpPr>
          <p:cNvPr id="162" name="Straight Arrow Connector 161"/>
          <p:cNvCxnSpPr/>
          <p:nvPr/>
        </p:nvCxnSpPr>
        <p:spPr>
          <a:xfrm flipH="1">
            <a:off x="9528457" y="2206072"/>
            <a:ext cx="361611" cy="1507025"/>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cxnSp>
        <p:nvCxnSpPr>
          <p:cNvPr id="152" name="Straight Arrow Connector 151"/>
          <p:cNvCxnSpPr>
            <a:stCxn id="150" idx="2"/>
          </p:cNvCxnSpPr>
          <p:nvPr/>
        </p:nvCxnSpPr>
        <p:spPr>
          <a:xfrm flipH="1">
            <a:off x="1351040" y="2326166"/>
            <a:ext cx="2254881" cy="2867475"/>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sp>
        <p:nvSpPr>
          <p:cNvPr id="168" name="TextBox 167"/>
          <p:cNvSpPr txBox="1"/>
          <p:nvPr/>
        </p:nvSpPr>
        <p:spPr>
          <a:xfrm>
            <a:off x="4919916" y="2961579"/>
            <a:ext cx="4000510" cy="544688"/>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wrap="square" lIns="182854" tIns="146283" rIns="182854" bIns="146283" rtlCol="0">
            <a:spAutoFit/>
          </a:bodyPr>
          <a:lstStyle/>
          <a:p>
            <a:pPr algn="ctr" defTabSz="914224">
              <a:lnSpc>
                <a:spcPct val="90000"/>
              </a:lnSpc>
              <a:spcAft>
                <a:spcPts val="600"/>
              </a:spcAft>
              <a:defRPr/>
            </a:pPr>
            <a:r>
              <a:rPr lang="en-US" kern="0" dirty="0">
                <a:solidFill>
                  <a:srgbClr val="FFFFFF"/>
                </a:solidFill>
              </a:rPr>
              <a:t>Transform &amp; Analyze</a:t>
            </a:r>
          </a:p>
        </p:txBody>
      </p:sp>
      <p:sp>
        <p:nvSpPr>
          <p:cNvPr id="169" name="TextBox 168"/>
          <p:cNvSpPr txBox="1"/>
          <p:nvPr/>
        </p:nvSpPr>
        <p:spPr>
          <a:xfrm>
            <a:off x="9276441" y="2961579"/>
            <a:ext cx="2517770" cy="544688"/>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wrap="square" lIns="182854" tIns="146283" rIns="182854" bIns="146283" rtlCol="0">
            <a:spAutoFit/>
          </a:bodyPr>
          <a:lstStyle/>
          <a:p>
            <a:pPr algn="ctr" defTabSz="914224">
              <a:lnSpc>
                <a:spcPct val="90000"/>
              </a:lnSpc>
              <a:spcAft>
                <a:spcPts val="600"/>
              </a:spcAft>
              <a:defRPr/>
            </a:pPr>
            <a:r>
              <a:rPr lang="en-US" kern="0" dirty="0">
                <a:solidFill>
                  <a:srgbClr val="FFFFFF"/>
                </a:solidFill>
              </a:rPr>
              <a:t>Publish</a:t>
            </a:r>
          </a:p>
        </p:txBody>
      </p:sp>
      <p:cxnSp>
        <p:nvCxnSpPr>
          <p:cNvPr id="151" name="Straight Arrow Connector 150"/>
          <p:cNvCxnSpPr>
            <a:stCxn id="150" idx="2"/>
          </p:cNvCxnSpPr>
          <p:nvPr/>
        </p:nvCxnSpPr>
        <p:spPr>
          <a:xfrm flipH="1">
            <a:off x="3323049" y="2326166"/>
            <a:ext cx="282872" cy="1712673"/>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cxnSp>
        <p:nvCxnSpPr>
          <p:cNvPr id="164" name="Straight Arrow Connector 163"/>
          <p:cNvCxnSpPr>
            <a:stCxn id="150" idx="2"/>
          </p:cNvCxnSpPr>
          <p:nvPr/>
        </p:nvCxnSpPr>
        <p:spPr>
          <a:xfrm>
            <a:off x="3605920" y="2326166"/>
            <a:ext cx="462247" cy="528622"/>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sp>
        <p:nvSpPr>
          <p:cNvPr id="167" name="TextBox 166"/>
          <p:cNvSpPr txBox="1"/>
          <p:nvPr/>
        </p:nvSpPr>
        <p:spPr>
          <a:xfrm>
            <a:off x="2618623" y="2961580"/>
            <a:ext cx="1752352" cy="544688"/>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wrap="square" lIns="182854" tIns="146283" rIns="182854" bIns="146283" rtlCol="0">
            <a:spAutoFit/>
          </a:bodyPr>
          <a:lstStyle/>
          <a:p>
            <a:pPr algn="ctr" defTabSz="914224">
              <a:lnSpc>
                <a:spcPct val="90000"/>
              </a:lnSpc>
              <a:spcAft>
                <a:spcPts val="600"/>
              </a:spcAft>
              <a:defRPr/>
            </a:pPr>
            <a:r>
              <a:rPr lang="en-US" kern="0" dirty="0">
                <a:solidFill>
                  <a:srgbClr val="FFFFFF"/>
                </a:solidFill>
              </a:rPr>
              <a:t>Ingest</a:t>
            </a:r>
          </a:p>
        </p:txBody>
      </p:sp>
    </p:spTree>
    <p:extLst>
      <p:ext uri="{BB962C8B-B14F-4D97-AF65-F5344CB8AC3E}">
        <p14:creationId xmlns:p14="http://schemas.microsoft.com/office/powerpoint/2010/main" val="307985386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6"/>
                                        </p:tgtEl>
                                        <p:attrNameLst>
                                          <p:attrName>style.visibility</p:attrName>
                                        </p:attrNameLst>
                                      </p:cBhvr>
                                      <p:to>
                                        <p:strVal val="visible"/>
                                      </p:to>
                                    </p:set>
                                    <p:animEffect transition="in" filter="fade">
                                      <p:cBhvr>
                                        <p:cTn id="7" dur="500"/>
                                        <p:tgtEl>
                                          <p:spTgt spid="16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67"/>
                                        </p:tgtEl>
                                        <p:attrNameLst>
                                          <p:attrName>style.visibility</p:attrName>
                                        </p:attrNameLst>
                                      </p:cBhvr>
                                      <p:to>
                                        <p:strVal val="visible"/>
                                      </p:to>
                                    </p:set>
                                    <p:animEffect transition="in" filter="fade">
                                      <p:cBhvr>
                                        <p:cTn id="11" dur="1000"/>
                                        <p:tgtEl>
                                          <p:spTgt spid="167"/>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68"/>
                                        </p:tgtEl>
                                        <p:attrNameLst>
                                          <p:attrName>style.visibility</p:attrName>
                                        </p:attrNameLst>
                                      </p:cBhvr>
                                      <p:to>
                                        <p:strVal val="visible"/>
                                      </p:to>
                                    </p:set>
                                    <p:animEffect transition="in" filter="fade">
                                      <p:cBhvr>
                                        <p:cTn id="15" dur="1000"/>
                                        <p:tgtEl>
                                          <p:spTgt spid="168"/>
                                        </p:tgtEl>
                                      </p:cBhvr>
                                    </p:animEffect>
                                  </p:childTnLst>
                                </p:cTn>
                              </p:par>
                            </p:childTnLst>
                          </p:cTn>
                        </p:par>
                        <p:par>
                          <p:cTn id="16" fill="hold">
                            <p:stCondLst>
                              <p:cond delay="2500"/>
                            </p:stCondLst>
                            <p:childTnLst>
                              <p:par>
                                <p:cTn id="17" presetID="10" presetClass="entr" presetSubtype="0" fill="hold" grpId="0" nodeType="afterEffect">
                                  <p:stCondLst>
                                    <p:cond delay="0"/>
                                  </p:stCondLst>
                                  <p:childTnLst>
                                    <p:set>
                                      <p:cBhvr>
                                        <p:cTn id="18" dur="1" fill="hold">
                                          <p:stCondLst>
                                            <p:cond delay="0"/>
                                          </p:stCondLst>
                                        </p:cTn>
                                        <p:tgtEl>
                                          <p:spTgt spid="169"/>
                                        </p:tgtEl>
                                        <p:attrNameLst>
                                          <p:attrName>style.visibility</p:attrName>
                                        </p:attrNameLst>
                                      </p:cBhvr>
                                      <p:to>
                                        <p:strVal val="visible"/>
                                      </p:to>
                                    </p:set>
                                    <p:animEffect transition="in" filter="fade">
                                      <p:cBhvr>
                                        <p:cTn id="19" dur="1000"/>
                                        <p:tgtEl>
                                          <p:spTgt spid="169"/>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126"/>
                                        </p:tgtEl>
                                        <p:attrNameLst>
                                          <p:attrName>style.visibility</p:attrName>
                                        </p:attrNameLst>
                                      </p:cBhvr>
                                      <p:to>
                                        <p:strVal val="visible"/>
                                      </p:to>
                                    </p:set>
                                    <p:animEffect transition="in" filter="fade">
                                      <p:cBhvr>
                                        <p:cTn id="24" dur="500"/>
                                        <p:tgtEl>
                                          <p:spTgt spid="126"/>
                                        </p:tgtEl>
                                      </p:cBhvr>
                                    </p:animEffect>
                                  </p:childTnLst>
                                </p:cTn>
                              </p:par>
                              <p:par>
                                <p:cTn id="25" presetID="10" presetClass="entr" presetSubtype="0" fill="hold" nodeType="withEffect">
                                  <p:stCondLst>
                                    <p:cond delay="0"/>
                                  </p:stCondLst>
                                  <p:childTnLst>
                                    <p:set>
                                      <p:cBhvr>
                                        <p:cTn id="26" dur="1" fill="hold">
                                          <p:stCondLst>
                                            <p:cond delay="0"/>
                                          </p:stCondLst>
                                        </p:cTn>
                                        <p:tgtEl>
                                          <p:spTgt spid="127"/>
                                        </p:tgtEl>
                                        <p:attrNameLst>
                                          <p:attrName>style.visibility</p:attrName>
                                        </p:attrNameLst>
                                      </p:cBhvr>
                                      <p:to>
                                        <p:strVal val="visible"/>
                                      </p:to>
                                    </p:set>
                                    <p:animEffect transition="in" filter="fade">
                                      <p:cBhvr>
                                        <p:cTn id="27" dur="500"/>
                                        <p:tgtEl>
                                          <p:spTgt spid="127"/>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24"/>
                                        </p:tgtEl>
                                        <p:attrNameLst>
                                          <p:attrName>style.visibility</p:attrName>
                                        </p:attrNameLst>
                                      </p:cBhvr>
                                      <p:to>
                                        <p:strVal val="visible"/>
                                      </p:to>
                                    </p:set>
                                    <p:animEffect transition="in" filter="fade">
                                      <p:cBhvr>
                                        <p:cTn id="30" dur="500"/>
                                        <p:tgtEl>
                                          <p:spTgt spid="124"/>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25"/>
                                        </p:tgtEl>
                                        <p:attrNameLst>
                                          <p:attrName>style.visibility</p:attrName>
                                        </p:attrNameLst>
                                      </p:cBhvr>
                                      <p:to>
                                        <p:strVal val="visible"/>
                                      </p:to>
                                    </p:set>
                                    <p:animEffect transition="in" filter="fade">
                                      <p:cBhvr>
                                        <p:cTn id="33" dur="500"/>
                                        <p:tgtEl>
                                          <p:spTgt spid="125"/>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28"/>
                                        </p:tgtEl>
                                        <p:attrNameLst>
                                          <p:attrName>style.visibility</p:attrName>
                                        </p:attrNameLst>
                                      </p:cBhvr>
                                      <p:to>
                                        <p:strVal val="visible"/>
                                      </p:to>
                                    </p:set>
                                    <p:animEffect transition="in" filter="fade">
                                      <p:cBhvr>
                                        <p:cTn id="36" dur="500"/>
                                        <p:tgtEl>
                                          <p:spTgt spid="128"/>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13"/>
                                        </p:tgtEl>
                                        <p:attrNameLst>
                                          <p:attrName>style.visibility</p:attrName>
                                        </p:attrNameLst>
                                      </p:cBhvr>
                                      <p:to>
                                        <p:strVal val="visible"/>
                                      </p:to>
                                    </p:set>
                                    <p:animEffect transition="in" filter="fade">
                                      <p:cBhvr>
                                        <p:cTn id="41" dur="500"/>
                                        <p:tgtEl>
                                          <p:spTgt spid="113"/>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14"/>
                                        </p:tgtEl>
                                        <p:attrNameLst>
                                          <p:attrName>style.visibility</p:attrName>
                                        </p:attrNameLst>
                                      </p:cBhvr>
                                      <p:to>
                                        <p:strVal val="visible"/>
                                      </p:to>
                                    </p:set>
                                    <p:animEffect transition="in" filter="fade">
                                      <p:cBhvr>
                                        <p:cTn id="44" dur="500"/>
                                        <p:tgtEl>
                                          <p:spTgt spid="114"/>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12"/>
                                        </p:tgtEl>
                                        <p:attrNameLst>
                                          <p:attrName>style.visibility</p:attrName>
                                        </p:attrNameLst>
                                      </p:cBhvr>
                                      <p:to>
                                        <p:strVal val="visible"/>
                                      </p:to>
                                    </p:set>
                                    <p:animEffect transition="in" filter="fade">
                                      <p:cBhvr>
                                        <p:cTn id="47" dur="500"/>
                                        <p:tgtEl>
                                          <p:spTgt spid="112"/>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15"/>
                                        </p:tgtEl>
                                        <p:attrNameLst>
                                          <p:attrName>style.visibility</p:attrName>
                                        </p:attrNameLst>
                                      </p:cBhvr>
                                      <p:to>
                                        <p:strVal val="visible"/>
                                      </p:to>
                                    </p:set>
                                    <p:animEffect transition="in" filter="fade">
                                      <p:cBhvr>
                                        <p:cTn id="50" dur="500"/>
                                        <p:tgtEl>
                                          <p:spTgt spid="115"/>
                                        </p:tgtEl>
                                      </p:cBhvr>
                                    </p:animEffect>
                                  </p:childTnLst>
                                </p:cTn>
                              </p:par>
                            </p:childTnLst>
                          </p:cTn>
                        </p:par>
                        <p:par>
                          <p:cTn id="51" fill="hold">
                            <p:stCondLst>
                              <p:cond delay="500"/>
                            </p:stCondLst>
                            <p:childTnLst>
                              <p:par>
                                <p:cTn id="52" presetID="10" presetClass="entr" presetSubtype="0" fill="hold" grpId="0" nodeType="afterEffect">
                                  <p:stCondLst>
                                    <p:cond delay="0"/>
                                  </p:stCondLst>
                                  <p:childTnLst>
                                    <p:set>
                                      <p:cBhvr>
                                        <p:cTn id="53" dur="1" fill="hold">
                                          <p:stCondLst>
                                            <p:cond delay="0"/>
                                          </p:stCondLst>
                                        </p:cTn>
                                        <p:tgtEl>
                                          <p:spTgt spid="116"/>
                                        </p:tgtEl>
                                        <p:attrNameLst>
                                          <p:attrName>style.visibility</p:attrName>
                                        </p:attrNameLst>
                                      </p:cBhvr>
                                      <p:to>
                                        <p:strVal val="visible"/>
                                      </p:to>
                                    </p:set>
                                    <p:animEffect transition="in" filter="fade">
                                      <p:cBhvr>
                                        <p:cTn id="54" dur="500"/>
                                        <p:tgtEl>
                                          <p:spTgt spid="116"/>
                                        </p:tgtEl>
                                      </p:cBhvr>
                                    </p:animEffect>
                                  </p:childTnLst>
                                </p:cTn>
                              </p:par>
                            </p:childTnLst>
                          </p:cTn>
                        </p:par>
                        <p:par>
                          <p:cTn id="55" fill="hold">
                            <p:stCondLst>
                              <p:cond delay="1000"/>
                            </p:stCondLst>
                            <p:childTnLst>
                              <p:par>
                                <p:cTn id="56" presetID="10" presetClass="entr" presetSubtype="0" fill="hold" grpId="0" nodeType="afterEffect">
                                  <p:stCondLst>
                                    <p:cond delay="0"/>
                                  </p:stCondLst>
                                  <p:childTnLst>
                                    <p:set>
                                      <p:cBhvr>
                                        <p:cTn id="57" dur="1" fill="hold">
                                          <p:stCondLst>
                                            <p:cond delay="0"/>
                                          </p:stCondLst>
                                        </p:cTn>
                                        <p:tgtEl>
                                          <p:spTgt spid="117"/>
                                        </p:tgtEl>
                                        <p:attrNameLst>
                                          <p:attrName>style.visibility</p:attrName>
                                        </p:attrNameLst>
                                      </p:cBhvr>
                                      <p:to>
                                        <p:strVal val="visible"/>
                                      </p:to>
                                    </p:set>
                                    <p:animEffect transition="in" filter="fade">
                                      <p:cBhvr>
                                        <p:cTn id="58" dur="500"/>
                                        <p:tgtEl>
                                          <p:spTgt spid="117"/>
                                        </p:tgtEl>
                                      </p:cBhvr>
                                    </p:animEffect>
                                  </p:childTnLst>
                                </p:cTn>
                              </p:par>
                            </p:childTnLst>
                          </p:cTn>
                        </p:par>
                        <p:par>
                          <p:cTn id="59" fill="hold">
                            <p:stCondLst>
                              <p:cond delay="1500"/>
                            </p:stCondLst>
                            <p:childTnLst>
                              <p:par>
                                <p:cTn id="60" presetID="10" presetClass="entr" presetSubtype="0" fill="hold" grpId="0" nodeType="afterEffect">
                                  <p:stCondLst>
                                    <p:cond delay="0"/>
                                  </p:stCondLst>
                                  <p:childTnLst>
                                    <p:set>
                                      <p:cBhvr>
                                        <p:cTn id="61" dur="1" fill="hold">
                                          <p:stCondLst>
                                            <p:cond delay="0"/>
                                          </p:stCondLst>
                                        </p:cTn>
                                        <p:tgtEl>
                                          <p:spTgt spid="118"/>
                                        </p:tgtEl>
                                        <p:attrNameLst>
                                          <p:attrName>style.visibility</p:attrName>
                                        </p:attrNameLst>
                                      </p:cBhvr>
                                      <p:to>
                                        <p:strVal val="visible"/>
                                      </p:to>
                                    </p:set>
                                    <p:animEffect transition="in" filter="fade">
                                      <p:cBhvr>
                                        <p:cTn id="62" dur="500"/>
                                        <p:tgtEl>
                                          <p:spTgt spid="118"/>
                                        </p:tgtEl>
                                      </p:cBhvr>
                                    </p:animEffect>
                                  </p:childTnLst>
                                </p:cTn>
                              </p:par>
                            </p:childTnLst>
                          </p:cTn>
                        </p:par>
                        <p:par>
                          <p:cTn id="63" fill="hold">
                            <p:stCondLst>
                              <p:cond delay="2000"/>
                            </p:stCondLst>
                            <p:childTnLst>
                              <p:par>
                                <p:cTn id="64" presetID="10" presetClass="entr" presetSubtype="0" fill="hold" grpId="0" nodeType="afterEffect">
                                  <p:stCondLst>
                                    <p:cond delay="0"/>
                                  </p:stCondLst>
                                  <p:childTnLst>
                                    <p:set>
                                      <p:cBhvr>
                                        <p:cTn id="65" dur="1" fill="hold">
                                          <p:stCondLst>
                                            <p:cond delay="0"/>
                                          </p:stCondLst>
                                        </p:cTn>
                                        <p:tgtEl>
                                          <p:spTgt spid="119"/>
                                        </p:tgtEl>
                                        <p:attrNameLst>
                                          <p:attrName>style.visibility</p:attrName>
                                        </p:attrNameLst>
                                      </p:cBhvr>
                                      <p:to>
                                        <p:strVal val="visible"/>
                                      </p:to>
                                    </p:set>
                                    <p:animEffect transition="in" filter="fade">
                                      <p:cBhvr>
                                        <p:cTn id="66" dur="500"/>
                                        <p:tgtEl>
                                          <p:spTgt spid="119"/>
                                        </p:tgtEl>
                                      </p:cBhvr>
                                    </p:animEffect>
                                  </p:childTnLst>
                                </p:cTn>
                              </p:par>
                            </p:childTnLst>
                          </p:cTn>
                        </p:par>
                      </p:childTnLst>
                    </p:cTn>
                  </p:par>
                  <p:par>
                    <p:cTn id="67" fill="hold">
                      <p:stCondLst>
                        <p:cond delay="indefinite"/>
                      </p:stCondLst>
                      <p:childTnLst>
                        <p:par>
                          <p:cTn id="68" fill="hold">
                            <p:stCondLst>
                              <p:cond delay="0"/>
                            </p:stCondLst>
                            <p:childTnLst>
                              <p:par>
                                <p:cTn id="69" presetID="22" presetClass="entr" presetSubtype="8" fill="hold" nodeType="clickEffect">
                                  <p:stCondLst>
                                    <p:cond delay="0"/>
                                  </p:stCondLst>
                                  <p:childTnLst>
                                    <p:set>
                                      <p:cBhvr>
                                        <p:cTn id="70" dur="1" fill="hold">
                                          <p:stCondLst>
                                            <p:cond delay="0"/>
                                          </p:stCondLst>
                                        </p:cTn>
                                        <p:tgtEl>
                                          <p:spTgt spid="121"/>
                                        </p:tgtEl>
                                        <p:attrNameLst>
                                          <p:attrName>style.visibility</p:attrName>
                                        </p:attrNameLst>
                                      </p:cBhvr>
                                      <p:to>
                                        <p:strVal val="visible"/>
                                      </p:to>
                                    </p:set>
                                    <p:animEffect transition="in" filter="wipe(left)">
                                      <p:cBhvr>
                                        <p:cTn id="71" dur="500"/>
                                        <p:tgtEl>
                                          <p:spTgt spid="121"/>
                                        </p:tgtEl>
                                      </p:cBhvr>
                                    </p:animEffect>
                                  </p:childTnLst>
                                </p:cTn>
                              </p:par>
                              <p:par>
                                <p:cTn id="72" presetID="22" presetClass="entr" presetSubtype="8" fill="hold" nodeType="withEffect">
                                  <p:stCondLst>
                                    <p:cond delay="0"/>
                                  </p:stCondLst>
                                  <p:childTnLst>
                                    <p:set>
                                      <p:cBhvr>
                                        <p:cTn id="73" dur="1" fill="hold">
                                          <p:stCondLst>
                                            <p:cond delay="0"/>
                                          </p:stCondLst>
                                        </p:cTn>
                                        <p:tgtEl>
                                          <p:spTgt spid="120"/>
                                        </p:tgtEl>
                                        <p:attrNameLst>
                                          <p:attrName>style.visibility</p:attrName>
                                        </p:attrNameLst>
                                      </p:cBhvr>
                                      <p:to>
                                        <p:strVal val="visible"/>
                                      </p:to>
                                    </p:set>
                                    <p:animEffect transition="in" filter="wipe(left)">
                                      <p:cBhvr>
                                        <p:cTn id="74" dur="500"/>
                                        <p:tgtEl>
                                          <p:spTgt spid="120"/>
                                        </p:tgtEl>
                                      </p:cBhvr>
                                    </p:animEffect>
                                  </p:childTnLst>
                                </p:cTn>
                              </p:par>
                            </p:childTnLst>
                          </p:cTn>
                        </p:par>
                      </p:childTnLst>
                    </p:cTn>
                  </p:par>
                  <p:par>
                    <p:cTn id="75" fill="hold">
                      <p:stCondLst>
                        <p:cond delay="indefinite"/>
                      </p:stCondLst>
                      <p:childTnLst>
                        <p:par>
                          <p:cTn id="76" fill="hold">
                            <p:stCondLst>
                              <p:cond delay="0"/>
                            </p:stCondLst>
                            <p:childTnLst>
                              <p:par>
                                <p:cTn id="77" presetID="22" presetClass="entr" presetSubtype="1" fill="hold" nodeType="clickEffect">
                                  <p:stCondLst>
                                    <p:cond delay="0"/>
                                  </p:stCondLst>
                                  <p:childTnLst>
                                    <p:set>
                                      <p:cBhvr>
                                        <p:cTn id="78" dur="1" fill="hold">
                                          <p:stCondLst>
                                            <p:cond delay="0"/>
                                          </p:stCondLst>
                                        </p:cTn>
                                        <p:tgtEl>
                                          <p:spTgt spid="152"/>
                                        </p:tgtEl>
                                        <p:attrNameLst>
                                          <p:attrName>style.visibility</p:attrName>
                                        </p:attrNameLst>
                                      </p:cBhvr>
                                      <p:to>
                                        <p:strVal val="visible"/>
                                      </p:to>
                                    </p:set>
                                    <p:animEffect transition="in" filter="wipe(up)">
                                      <p:cBhvr>
                                        <p:cTn id="79" dur="500"/>
                                        <p:tgtEl>
                                          <p:spTgt spid="152"/>
                                        </p:tgtEl>
                                      </p:cBhvr>
                                    </p:animEffect>
                                  </p:childTnLst>
                                </p:cTn>
                              </p:par>
                              <p:par>
                                <p:cTn id="80" presetID="22" presetClass="entr" presetSubtype="1" fill="hold" nodeType="withEffect">
                                  <p:stCondLst>
                                    <p:cond delay="0"/>
                                  </p:stCondLst>
                                  <p:childTnLst>
                                    <p:set>
                                      <p:cBhvr>
                                        <p:cTn id="81" dur="1" fill="hold">
                                          <p:stCondLst>
                                            <p:cond delay="0"/>
                                          </p:stCondLst>
                                        </p:cTn>
                                        <p:tgtEl>
                                          <p:spTgt spid="151"/>
                                        </p:tgtEl>
                                        <p:attrNameLst>
                                          <p:attrName>style.visibility</p:attrName>
                                        </p:attrNameLst>
                                      </p:cBhvr>
                                      <p:to>
                                        <p:strVal val="visible"/>
                                      </p:to>
                                    </p:set>
                                    <p:animEffect transition="in" filter="wipe(up)">
                                      <p:cBhvr>
                                        <p:cTn id="82" dur="500"/>
                                        <p:tgtEl>
                                          <p:spTgt spid="151"/>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grpId="0" nodeType="clickEffect">
                                  <p:stCondLst>
                                    <p:cond delay="0"/>
                                  </p:stCondLst>
                                  <p:childTnLst>
                                    <p:set>
                                      <p:cBhvr>
                                        <p:cTn id="86" dur="1" fill="hold">
                                          <p:stCondLst>
                                            <p:cond delay="0"/>
                                          </p:stCondLst>
                                        </p:cTn>
                                        <p:tgtEl>
                                          <p:spTgt spid="161"/>
                                        </p:tgtEl>
                                        <p:attrNameLst>
                                          <p:attrName>style.visibility</p:attrName>
                                        </p:attrNameLst>
                                      </p:cBhvr>
                                      <p:to>
                                        <p:strVal val="visible"/>
                                      </p:to>
                                    </p:set>
                                    <p:animEffect transition="in" filter="fade">
                                      <p:cBhvr>
                                        <p:cTn id="87" dur="500"/>
                                        <p:tgtEl>
                                          <p:spTgt spid="161"/>
                                        </p:tgtEl>
                                      </p:cBhvr>
                                    </p:animEffect>
                                  </p:childTnLst>
                                </p:cTn>
                              </p:par>
                            </p:childTnLst>
                          </p:cTn>
                        </p:par>
                        <p:par>
                          <p:cTn id="88" fill="hold">
                            <p:stCondLst>
                              <p:cond delay="500"/>
                            </p:stCondLst>
                            <p:childTnLst>
                              <p:par>
                                <p:cTn id="89" presetID="10" presetClass="entr" presetSubtype="0" fill="hold" nodeType="afterEffect">
                                  <p:stCondLst>
                                    <p:cond delay="0"/>
                                  </p:stCondLst>
                                  <p:childTnLst>
                                    <p:set>
                                      <p:cBhvr>
                                        <p:cTn id="90" dur="1" fill="hold">
                                          <p:stCondLst>
                                            <p:cond delay="0"/>
                                          </p:stCondLst>
                                        </p:cTn>
                                        <p:tgtEl>
                                          <p:spTgt spid="155"/>
                                        </p:tgtEl>
                                        <p:attrNameLst>
                                          <p:attrName>style.visibility</p:attrName>
                                        </p:attrNameLst>
                                      </p:cBhvr>
                                      <p:to>
                                        <p:strVal val="visible"/>
                                      </p:to>
                                    </p:set>
                                    <p:animEffect transition="in" filter="fade">
                                      <p:cBhvr>
                                        <p:cTn id="91" dur="500"/>
                                        <p:tgtEl>
                                          <p:spTgt spid="155"/>
                                        </p:tgtEl>
                                      </p:cBhvr>
                                    </p:animEffect>
                                  </p:childTnLst>
                                </p:cTn>
                              </p:par>
                              <p:par>
                                <p:cTn id="92" presetID="10" presetClass="entr" presetSubtype="0" fill="hold" nodeType="withEffect">
                                  <p:stCondLst>
                                    <p:cond delay="0"/>
                                  </p:stCondLst>
                                  <p:childTnLst>
                                    <p:set>
                                      <p:cBhvr>
                                        <p:cTn id="93" dur="1" fill="hold">
                                          <p:stCondLst>
                                            <p:cond delay="0"/>
                                          </p:stCondLst>
                                        </p:cTn>
                                        <p:tgtEl>
                                          <p:spTgt spid="162"/>
                                        </p:tgtEl>
                                        <p:attrNameLst>
                                          <p:attrName>style.visibility</p:attrName>
                                        </p:attrNameLst>
                                      </p:cBhvr>
                                      <p:to>
                                        <p:strVal val="visible"/>
                                      </p:to>
                                    </p:set>
                                    <p:animEffect transition="in" filter="fade">
                                      <p:cBhvr>
                                        <p:cTn id="94" dur="500"/>
                                        <p:tgtEl>
                                          <p:spTgt spid="162"/>
                                        </p:tgtEl>
                                      </p:cBhvr>
                                    </p:animEffect>
                                  </p:childTnLst>
                                </p:cTn>
                              </p:par>
                              <p:par>
                                <p:cTn id="95" presetID="10" presetClass="entr" presetSubtype="0" fill="hold" nodeType="withEffect">
                                  <p:stCondLst>
                                    <p:cond delay="0"/>
                                  </p:stCondLst>
                                  <p:childTnLst>
                                    <p:set>
                                      <p:cBhvr>
                                        <p:cTn id="96" dur="1" fill="hold">
                                          <p:stCondLst>
                                            <p:cond delay="0"/>
                                          </p:stCondLst>
                                        </p:cTn>
                                        <p:tgtEl>
                                          <p:spTgt spid="183"/>
                                        </p:tgtEl>
                                        <p:attrNameLst>
                                          <p:attrName>style.visibility</p:attrName>
                                        </p:attrNameLst>
                                      </p:cBhvr>
                                      <p:to>
                                        <p:strVal val="visible"/>
                                      </p:to>
                                    </p:set>
                                    <p:animEffect transition="in" filter="fade">
                                      <p:cBhvr>
                                        <p:cTn id="97" dur="500"/>
                                        <p:tgtEl>
                                          <p:spTgt spid="183"/>
                                        </p:tgtEl>
                                      </p:cBhvr>
                                    </p:animEffect>
                                  </p:childTnLst>
                                </p:cTn>
                              </p:par>
                              <p:par>
                                <p:cTn id="98" presetID="10" presetClass="entr" presetSubtype="0" fill="hold" nodeType="withEffect">
                                  <p:stCondLst>
                                    <p:cond delay="0"/>
                                  </p:stCondLst>
                                  <p:childTnLst>
                                    <p:set>
                                      <p:cBhvr>
                                        <p:cTn id="99" dur="1" fill="hold">
                                          <p:stCondLst>
                                            <p:cond delay="0"/>
                                          </p:stCondLst>
                                        </p:cTn>
                                        <p:tgtEl>
                                          <p:spTgt spid="174"/>
                                        </p:tgtEl>
                                        <p:attrNameLst>
                                          <p:attrName>style.visibility</p:attrName>
                                        </p:attrNameLst>
                                      </p:cBhvr>
                                      <p:to>
                                        <p:strVal val="visible"/>
                                      </p:to>
                                    </p:set>
                                    <p:animEffect transition="in" filter="fade">
                                      <p:cBhvr>
                                        <p:cTn id="100" dur="500"/>
                                        <p:tgtEl>
                                          <p:spTgt spid="174"/>
                                        </p:tgtEl>
                                      </p:cBhvr>
                                    </p:animEffect>
                                  </p:childTnLst>
                                </p:cTn>
                              </p:par>
                              <p:par>
                                <p:cTn id="101" presetID="10" presetClass="entr" presetSubtype="0" fill="hold" nodeType="withEffect">
                                  <p:stCondLst>
                                    <p:cond delay="0"/>
                                  </p:stCondLst>
                                  <p:childTnLst>
                                    <p:set>
                                      <p:cBhvr>
                                        <p:cTn id="102" dur="1" fill="hold">
                                          <p:stCondLst>
                                            <p:cond delay="0"/>
                                          </p:stCondLst>
                                        </p:cTn>
                                        <p:tgtEl>
                                          <p:spTgt spid="178"/>
                                        </p:tgtEl>
                                        <p:attrNameLst>
                                          <p:attrName>style.visibility</p:attrName>
                                        </p:attrNameLst>
                                      </p:cBhvr>
                                      <p:to>
                                        <p:strVal val="visible"/>
                                      </p:to>
                                    </p:set>
                                    <p:animEffect transition="in" filter="fade">
                                      <p:cBhvr>
                                        <p:cTn id="103" dur="500"/>
                                        <p:tgtEl>
                                          <p:spTgt spid="178"/>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177"/>
                                        </p:tgtEl>
                                        <p:attrNameLst>
                                          <p:attrName>style.visibility</p:attrName>
                                        </p:attrNameLst>
                                      </p:cBhvr>
                                      <p:to>
                                        <p:strVal val="visible"/>
                                      </p:to>
                                    </p:set>
                                    <p:animEffect transition="in" filter="fade">
                                      <p:cBhvr>
                                        <p:cTn id="106" dur="500"/>
                                        <p:tgtEl>
                                          <p:spTgt spid="177"/>
                                        </p:tgtEl>
                                      </p:cBhvr>
                                    </p:animEffect>
                                  </p:childTnLst>
                                </p:cTn>
                              </p:par>
                              <p:par>
                                <p:cTn id="107" presetID="10" presetClass="entr" presetSubtype="0" fill="hold" grpId="0" nodeType="withEffect">
                                  <p:stCondLst>
                                    <p:cond delay="0"/>
                                  </p:stCondLst>
                                  <p:childTnLst>
                                    <p:set>
                                      <p:cBhvr>
                                        <p:cTn id="108" dur="1" fill="hold">
                                          <p:stCondLst>
                                            <p:cond delay="0"/>
                                          </p:stCondLst>
                                        </p:cTn>
                                        <p:tgtEl>
                                          <p:spTgt spid="179"/>
                                        </p:tgtEl>
                                        <p:attrNameLst>
                                          <p:attrName>style.visibility</p:attrName>
                                        </p:attrNameLst>
                                      </p:cBhvr>
                                      <p:to>
                                        <p:strVal val="visible"/>
                                      </p:to>
                                    </p:set>
                                    <p:animEffect transition="in" filter="fade">
                                      <p:cBhvr>
                                        <p:cTn id="109" dur="500"/>
                                        <p:tgtEl>
                                          <p:spTgt spid="179"/>
                                        </p:tgtEl>
                                      </p:cBhvr>
                                    </p:animEffect>
                                  </p:childTnLst>
                                </p:cTn>
                              </p:par>
                              <p:par>
                                <p:cTn id="110" presetID="10" presetClass="entr" presetSubtype="0" fill="hold" nodeType="withEffect">
                                  <p:stCondLst>
                                    <p:cond delay="0"/>
                                  </p:stCondLst>
                                  <p:childTnLst>
                                    <p:set>
                                      <p:cBhvr>
                                        <p:cTn id="111" dur="1" fill="hold">
                                          <p:stCondLst>
                                            <p:cond delay="0"/>
                                          </p:stCondLst>
                                        </p:cTn>
                                        <p:tgtEl>
                                          <p:spTgt spid="164"/>
                                        </p:tgtEl>
                                        <p:attrNameLst>
                                          <p:attrName>style.visibility</p:attrName>
                                        </p:attrNameLst>
                                      </p:cBhvr>
                                      <p:to>
                                        <p:strVal val="visible"/>
                                      </p:to>
                                    </p:set>
                                    <p:animEffect transition="in" filter="fade">
                                      <p:cBhvr>
                                        <p:cTn id="112" dur="500"/>
                                        <p:tgtEl>
                                          <p:spTgt spid="164"/>
                                        </p:tgtEl>
                                      </p:cBhvr>
                                    </p:animEffect>
                                  </p:childTnLst>
                                </p:cTn>
                              </p:par>
                            </p:childTnLst>
                          </p:cTn>
                        </p:par>
                      </p:childTnLst>
                    </p:cTn>
                  </p:par>
                  <p:par>
                    <p:cTn id="113" fill="hold">
                      <p:stCondLst>
                        <p:cond delay="indefinite"/>
                      </p:stCondLst>
                      <p:childTnLst>
                        <p:par>
                          <p:cTn id="114" fill="hold">
                            <p:stCondLst>
                              <p:cond delay="0"/>
                            </p:stCondLst>
                            <p:childTnLst>
                              <p:par>
                                <p:cTn id="115" presetID="10" presetClass="entr" presetSubtype="0" fill="hold" nodeType="clickEffect">
                                  <p:stCondLst>
                                    <p:cond delay="0"/>
                                  </p:stCondLst>
                                  <p:childTnLst>
                                    <p:set>
                                      <p:cBhvr>
                                        <p:cTn id="116" dur="1" fill="hold">
                                          <p:stCondLst>
                                            <p:cond delay="0"/>
                                          </p:stCondLst>
                                        </p:cTn>
                                        <p:tgtEl>
                                          <p:spTgt spid="184"/>
                                        </p:tgtEl>
                                        <p:attrNameLst>
                                          <p:attrName>style.visibility</p:attrName>
                                        </p:attrNameLst>
                                      </p:cBhvr>
                                      <p:to>
                                        <p:strVal val="visible"/>
                                      </p:to>
                                    </p:set>
                                    <p:animEffect transition="in" filter="fade">
                                      <p:cBhvr>
                                        <p:cTn id="117" dur="500"/>
                                        <p:tgtEl>
                                          <p:spTgt spid="184"/>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190"/>
                                        </p:tgtEl>
                                        <p:attrNameLst>
                                          <p:attrName>style.visibility</p:attrName>
                                        </p:attrNameLst>
                                      </p:cBhvr>
                                      <p:to>
                                        <p:strVal val="visible"/>
                                      </p:to>
                                    </p:set>
                                    <p:animEffect transition="in" filter="fade">
                                      <p:cBhvr>
                                        <p:cTn id="120" dur="500"/>
                                        <p:tgtEl>
                                          <p:spTgt spid="190"/>
                                        </p:tgtEl>
                                      </p:cBhvr>
                                    </p:animEffect>
                                  </p:childTnLst>
                                </p:cTn>
                              </p:par>
                            </p:childTnLst>
                          </p:cTn>
                        </p:par>
                      </p:childTnLst>
                    </p:cTn>
                  </p:par>
                  <p:par>
                    <p:cTn id="121" fill="hold">
                      <p:stCondLst>
                        <p:cond delay="indefinite"/>
                      </p:stCondLst>
                      <p:childTnLst>
                        <p:par>
                          <p:cTn id="122" fill="hold">
                            <p:stCondLst>
                              <p:cond delay="0"/>
                            </p:stCondLst>
                            <p:childTnLst>
                              <p:par>
                                <p:cTn id="123" presetID="10" presetClass="entr" presetSubtype="0" fill="hold" nodeType="clickEffect">
                                  <p:stCondLst>
                                    <p:cond delay="0"/>
                                  </p:stCondLst>
                                  <p:childTnLst>
                                    <p:set>
                                      <p:cBhvr>
                                        <p:cTn id="124" dur="1" fill="hold">
                                          <p:stCondLst>
                                            <p:cond delay="0"/>
                                          </p:stCondLst>
                                        </p:cTn>
                                        <p:tgtEl>
                                          <p:spTgt spid="185"/>
                                        </p:tgtEl>
                                        <p:attrNameLst>
                                          <p:attrName>style.visibility</p:attrName>
                                        </p:attrNameLst>
                                      </p:cBhvr>
                                      <p:to>
                                        <p:strVal val="visible"/>
                                      </p:to>
                                    </p:set>
                                    <p:animEffect transition="in" filter="fade">
                                      <p:cBhvr>
                                        <p:cTn id="125" dur="500"/>
                                        <p:tgtEl>
                                          <p:spTgt spid="185"/>
                                        </p:tgtEl>
                                      </p:cBhvr>
                                    </p:animEffect>
                                  </p:childTnLst>
                                </p:cTn>
                              </p:par>
                              <p:par>
                                <p:cTn id="126" presetID="10" presetClass="entr" presetSubtype="0" fill="hold" grpId="0" nodeType="withEffect">
                                  <p:stCondLst>
                                    <p:cond delay="0"/>
                                  </p:stCondLst>
                                  <p:childTnLst>
                                    <p:set>
                                      <p:cBhvr>
                                        <p:cTn id="127" dur="1" fill="hold">
                                          <p:stCondLst>
                                            <p:cond delay="0"/>
                                          </p:stCondLst>
                                        </p:cTn>
                                        <p:tgtEl>
                                          <p:spTgt spid="180"/>
                                        </p:tgtEl>
                                        <p:attrNameLst>
                                          <p:attrName>style.visibility</p:attrName>
                                        </p:attrNameLst>
                                      </p:cBhvr>
                                      <p:to>
                                        <p:strVal val="visible"/>
                                      </p:to>
                                    </p:set>
                                    <p:animEffect transition="in" filter="fade">
                                      <p:cBhvr>
                                        <p:cTn id="128" dur="500"/>
                                        <p:tgtEl>
                                          <p:spTgt spid="180"/>
                                        </p:tgtEl>
                                      </p:cBhvr>
                                    </p:animEffect>
                                  </p:childTnLst>
                                </p:cTn>
                              </p:par>
                              <p:par>
                                <p:cTn id="129" presetID="10" presetClass="entr" presetSubtype="0" fill="hold" nodeType="withEffect">
                                  <p:stCondLst>
                                    <p:cond delay="0"/>
                                  </p:stCondLst>
                                  <p:childTnLst>
                                    <p:set>
                                      <p:cBhvr>
                                        <p:cTn id="130" dur="1" fill="hold">
                                          <p:stCondLst>
                                            <p:cond delay="0"/>
                                          </p:stCondLst>
                                        </p:cTn>
                                        <p:tgtEl>
                                          <p:spTgt spid="182"/>
                                        </p:tgtEl>
                                        <p:attrNameLst>
                                          <p:attrName>style.visibility</p:attrName>
                                        </p:attrNameLst>
                                      </p:cBhvr>
                                      <p:to>
                                        <p:strVal val="visible"/>
                                      </p:to>
                                    </p:set>
                                    <p:animEffect transition="in" filter="fade">
                                      <p:cBhvr>
                                        <p:cTn id="131" dur="500"/>
                                        <p:tgtEl>
                                          <p:spTgt spid="182"/>
                                        </p:tgtEl>
                                      </p:cBhvr>
                                    </p:animEffect>
                                  </p:childTnLst>
                                </p:cTn>
                              </p:par>
                              <p:par>
                                <p:cTn id="132" presetID="10" presetClass="entr" presetSubtype="0" fill="hold" grpId="0" nodeType="withEffect">
                                  <p:stCondLst>
                                    <p:cond delay="0"/>
                                  </p:stCondLst>
                                  <p:childTnLst>
                                    <p:set>
                                      <p:cBhvr>
                                        <p:cTn id="133" dur="1" fill="hold">
                                          <p:stCondLst>
                                            <p:cond delay="0"/>
                                          </p:stCondLst>
                                        </p:cTn>
                                        <p:tgtEl>
                                          <p:spTgt spid="181"/>
                                        </p:tgtEl>
                                        <p:attrNameLst>
                                          <p:attrName>style.visibility</p:attrName>
                                        </p:attrNameLst>
                                      </p:cBhvr>
                                      <p:to>
                                        <p:strVal val="visible"/>
                                      </p:to>
                                    </p:set>
                                    <p:animEffect transition="in" filter="fade">
                                      <p:cBhvr>
                                        <p:cTn id="134" dur="500"/>
                                        <p:tgtEl>
                                          <p:spTgt spid="181"/>
                                        </p:tgtEl>
                                      </p:cBhvr>
                                    </p:animEffect>
                                  </p:childTnLst>
                                </p:cTn>
                              </p:par>
                            </p:childTnLst>
                          </p:cTn>
                        </p:par>
                      </p:childTnLst>
                    </p:cTn>
                  </p:par>
                  <p:par>
                    <p:cTn id="135" fill="hold">
                      <p:stCondLst>
                        <p:cond delay="indefinite"/>
                      </p:stCondLst>
                      <p:childTnLst>
                        <p:par>
                          <p:cTn id="136" fill="hold">
                            <p:stCondLst>
                              <p:cond delay="0"/>
                            </p:stCondLst>
                            <p:childTnLst>
                              <p:par>
                                <p:cTn id="137" presetID="10" presetClass="entr" presetSubtype="0" fill="hold" nodeType="clickEffect">
                                  <p:stCondLst>
                                    <p:cond delay="0"/>
                                  </p:stCondLst>
                                  <p:childTnLst>
                                    <p:set>
                                      <p:cBhvr>
                                        <p:cTn id="138" dur="1" fill="hold">
                                          <p:stCondLst>
                                            <p:cond delay="0"/>
                                          </p:stCondLst>
                                        </p:cTn>
                                        <p:tgtEl>
                                          <p:spTgt spid="156"/>
                                        </p:tgtEl>
                                        <p:attrNameLst>
                                          <p:attrName>style.visibility</p:attrName>
                                        </p:attrNameLst>
                                      </p:cBhvr>
                                      <p:to>
                                        <p:strVal val="visible"/>
                                      </p:to>
                                    </p:set>
                                    <p:animEffect transition="in" filter="fade">
                                      <p:cBhvr>
                                        <p:cTn id="139" dur="500"/>
                                        <p:tgtEl>
                                          <p:spTgt spid="156"/>
                                        </p:tgtEl>
                                      </p:cBhvr>
                                    </p:animEffect>
                                  </p:childTnLst>
                                </p:cTn>
                              </p:par>
                              <p:par>
                                <p:cTn id="140" presetID="10" presetClass="entr" presetSubtype="0" fill="hold" nodeType="withEffect">
                                  <p:stCondLst>
                                    <p:cond delay="0"/>
                                  </p:stCondLst>
                                  <p:childTnLst>
                                    <p:set>
                                      <p:cBhvr>
                                        <p:cTn id="141" dur="1" fill="hold">
                                          <p:stCondLst>
                                            <p:cond delay="0"/>
                                          </p:stCondLst>
                                        </p:cTn>
                                        <p:tgtEl>
                                          <p:spTgt spid="186"/>
                                        </p:tgtEl>
                                        <p:attrNameLst>
                                          <p:attrName>style.visibility</p:attrName>
                                        </p:attrNameLst>
                                      </p:cBhvr>
                                      <p:to>
                                        <p:strVal val="visible"/>
                                      </p:to>
                                    </p:set>
                                    <p:animEffect transition="in" filter="fade">
                                      <p:cBhvr>
                                        <p:cTn id="142" dur="500"/>
                                        <p:tgtEl>
                                          <p:spTgt spid="186"/>
                                        </p:tgtEl>
                                      </p:cBhvr>
                                    </p:animEffect>
                                  </p:childTnLst>
                                </p:cTn>
                              </p:par>
                              <p:par>
                                <p:cTn id="143" presetID="10" presetClass="entr" presetSubtype="0" fill="hold" grpId="0" nodeType="withEffect">
                                  <p:stCondLst>
                                    <p:cond delay="0"/>
                                  </p:stCondLst>
                                  <p:childTnLst>
                                    <p:set>
                                      <p:cBhvr>
                                        <p:cTn id="144" dur="1" fill="hold">
                                          <p:stCondLst>
                                            <p:cond delay="0"/>
                                          </p:stCondLst>
                                        </p:cTn>
                                        <p:tgtEl>
                                          <p:spTgt spid="191"/>
                                        </p:tgtEl>
                                        <p:attrNameLst>
                                          <p:attrName>style.visibility</p:attrName>
                                        </p:attrNameLst>
                                      </p:cBhvr>
                                      <p:to>
                                        <p:strVal val="visible"/>
                                      </p:to>
                                    </p:set>
                                    <p:animEffect transition="in" filter="fade">
                                      <p:cBhvr>
                                        <p:cTn id="145" dur="500"/>
                                        <p:tgtEl>
                                          <p:spTgt spid="191"/>
                                        </p:tgtEl>
                                      </p:cBhvr>
                                    </p:animEffect>
                                  </p:childTnLst>
                                </p:cTn>
                              </p:par>
                            </p:childTnLst>
                          </p:cTn>
                        </p:par>
                      </p:childTnLst>
                    </p:cTn>
                  </p:par>
                  <p:par>
                    <p:cTn id="146" fill="hold">
                      <p:stCondLst>
                        <p:cond delay="indefinite"/>
                      </p:stCondLst>
                      <p:childTnLst>
                        <p:par>
                          <p:cTn id="147" fill="hold">
                            <p:stCondLst>
                              <p:cond delay="0"/>
                            </p:stCondLst>
                            <p:childTnLst>
                              <p:par>
                                <p:cTn id="148" presetID="10" presetClass="entr" presetSubtype="0" fill="hold" nodeType="clickEffect">
                                  <p:stCondLst>
                                    <p:cond delay="0"/>
                                  </p:stCondLst>
                                  <p:childTnLst>
                                    <p:set>
                                      <p:cBhvr>
                                        <p:cTn id="149" dur="1" fill="hold">
                                          <p:stCondLst>
                                            <p:cond delay="0"/>
                                          </p:stCondLst>
                                        </p:cTn>
                                        <p:tgtEl>
                                          <p:spTgt spid="157"/>
                                        </p:tgtEl>
                                        <p:attrNameLst>
                                          <p:attrName>style.visibility</p:attrName>
                                        </p:attrNameLst>
                                      </p:cBhvr>
                                      <p:to>
                                        <p:strVal val="visible"/>
                                      </p:to>
                                    </p:set>
                                    <p:animEffect transition="in" filter="fade">
                                      <p:cBhvr>
                                        <p:cTn id="150" dur="500"/>
                                        <p:tgtEl>
                                          <p:spTgt spid="157"/>
                                        </p:tgtEl>
                                      </p:cBhvr>
                                    </p:animEffect>
                                  </p:childTnLst>
                                </p:cTn>
                              </p:par>
                              <p:par>
                                <p:cTn id="151" presetID="10" presetClass="entr" presetSubtype="0" fill="hold" nodeType="withEffect">
                                  <p:stCondLst>
                                    <p:cond delay="0"/>
                                  </p:stCondLst>
                                  <p:childTnLst>
                                    <p:set>
                                      <p:cBhvr>
                                        <p:cTn id="152" dur="1" fill="hold">
                                          <p:stCondLst>
                                            <p:cond delay="0"/>
                                          </p:stCondLst>
                                        </p:cTn>
                                        <p:tgtEl>
                                          <p:spTgt spid="189"/>
                                        </p:tgtEl>
                                        <p:attrNameLst>
                                          <p:attrName>style.visibility</p:attrName>
                                        </p:attrNameLst>
                                      </p:cBhvr>
                                      <p:to>
                                        <p:strVal val="visible"/>
                                      </p:to>
                                    </p:set>
                                    <p:animEffect transition="in" filter="fade">
                                      <p:cBhvr>
                                        <p:cTn id="153" dur="500"/>
                                        <p:tgtEl>
                                          <p:spTgt spid="189"/>
                                        </p:tgtEl>
                                      </p:cBhvr>
                                    </p:animEffect>
                                  </p:childTnLst>
                                </p:cTn>
                              </p:par>
                              <p:par>
                                <p:cTn id="154" presetID="10" presetClass="entr" presetSubtype="0" fill="hold" grpId="0" nodeType="withEffect">
                                  <p:stCondLst>
                                    <p:cond delay="0"/>
                                  </p:stCondLst>
                                  <p:childTnLst>
                                    <p:set>
                                      <p:cBhvr>
                                        <p:cTn id="155" dur="1" fill="hold">
                                          <p:stCondLst>
                                            <p:cond delay="0"/>
                                          </p:stCondLst>
                                        </p:cTn>
                                        <p:tgtEl>
                                          <p:spTgt spid="188"/>
                                        </p:tgtEl>
                                        <p:attrNameLst>
                                          <p:attrName>style.visibility</p:attrName>
                                        </p:attrNameLst>
                                      </p:cBhvr>
                                      <p:to>
                                        <p:strVal val="visible"/>
                                      </p:to>
                                    </p:set>
                                    <p:animEffect transition="in" filter="fade">
                                      <p:cBhvr>
                                        <p:cTn id="156" dur="500"/>
                                        <p:tgtEl>
                                          <p:spTgt spid="188"/>
                                        </p:tgtEl>
                                      </p:cBhvr>
                                    </p:animEffect>
                                  </p:childTnLst>
                                </p:cTn>
                              </p:par>
                              <p:par>
                                <p:cTn id="157" presetID="10" presetClass="entr" presetSubtype="0" fill="hold" nodeType="withEffect">
                                  <p:stCondLst>
                                    <p:cond delay="0"/>
                                  </p:stCondLst>
                                  <p:childTnLst>
                                    <p:set>
                                      <p:cBhvr>
                                        <p:cTn id="158" dur="1" fill="hold">
                                          <p:stCondLst>
                                            <p:cond delay="0"/>
                                          </p:stCondLst>
                                        </p:cTn>
                                        <p:tgtEl>
                                          <p:spTgt spid="172"/>
                                        </p:tgtEl>
                                        <p:attrNameLst>
                                          <p:attrName>style.visibility</p:attrName>
                                        </p:attrNameLst>
                                      </p:cBhvr>
                                      <p:to>
                                        <p:strVal val="visible"/>
                                      </p:to>
                                    </p:set>
                                    <p:animEffect transition="in" filter="fade">
                                      <p:cBhvr>
                                        <p:cTn id="159" dur="500"/>
                                        <p:tgtEl>
                                          <p:spTgt spid="172"/>
                                        </p:tgtEl>
                                      </p:cBhvr>
                                    </p:animEffect>
                                  </p:childTnLst>
                                </p:cTn>
                              </p:par>
                              <p:par>
                                <p:cTn id="160" presetID="10" presetClass="entr" presetSubtype="0" fill="hold" grpId="0" nodeType="withEffect">
                                  <p:stCondLst>
                                    <p:cond delay="0"/>
                                  </p:stCondLst>
                                  <p:childTnLst>
                                    <p:set>
                                      <p:cBhvr>
                                        <p:cTn id="161" dur="1" fill="hold">
                                          <p:stCondLst>
                                            <p:cond delay="0"/>
                                          </p:stCondLst>
                                        </p:cTn>
                                        <p:tgtEl>
                                          <p:spTgt spid="187"/>
                                        </p:tgtEl>
                                        <p:attrNameLst>
                                          <p:attrName>style.visibility</p:attrName>
                                        </p:attrNameLst>
                                      </p:cBhvr>
                                      <p:to>
                                        <p:strVal val="visible"/>
                                      </p:to>
                                    </p:set>
                                    <p:animEffect transition="in" filter="fade">
                                      <p:cBhvr>
                                        <p:cTn id="162" dur="500"/>
                                        <p:tgtEl>
                                          <p:spTgt spid="187"/>
                                        </p:tgtEl>
                                      </p:cBhvr>
                                    </p:animEffect>
                                  </p:childTnLst>
                                </p:cTn>
                              </p:par>
                              <p:par>
                                <p:cTn id="163" presetID="10" presetClass="entr" presetSubtype="0" fill="hold" nodeType="withEffect">
                                  <p:stCondLst>
                                    <p:cond delay="0"/>
                                  </p:stCondLst>
                                  <p:childTnLst>
                                    <p:set>
                                      <p:cBhvr>
                                        <p:cTn id="164" dur="1" fill="hold">
                                          <p:stCondLst>
                                            <p:cond delay="0"/>
                                          </p:stCondLst>
                                        </p:cTn>
                                        <p:tgtEl>
                                          <p:spTgt spid="144"/>
                                        </p:tgtEl>
                                        <p:attrNameLst>
                                          <p:attrName>style.visibility</p:attrName>
                                        </p:attrNameLst>
                                      </p:cBhvr>
                                      <p:to>
                                        <p:strVal val="visible"/>
                                      </p:to>
                                    </p:set>
                                    <p:animEffect transition="in" filter="fade">
                                      <p:cBhvr>
                                        <p:cTn id="165" dur="500"/>
                                        <p:tgtEl>
                                          <p:spTgt spid="144"/>
                                        </p:tgtEl>
                                      </p:cBhvr>
                                    </p:animEffect>
                                  </p:childTnLst>
                                </p:cTn>
                              </p:par>
                              <p:par>
                                <p:cTn id="166" presetID="10" presetClass="entr" presetSubtype="0" fill="hold" grpId="0" nodeType="withEffect">
                                  <p:stCondLst>
                                    <p:cond delay="0"/>
                                  </p:stCondLst>
                                  <p:childTnLst>
                                    <p:set>
                                      <p:cBhvr>
                                        <p:cTn id="167" dur="1" fill="hold">
                                          <p:stCondLst>
                                            <p:cond delay="0"/>
                                          </p:stCondLst>
                                        </p:cTn>
                                        <p:tgtEl>
                                          <p:spTgt spid="145"/>
                                        </p:tgtEl>
                                        <p:attrNameLst>
                                          <p:attrName>style.visibility</p:attrName>
                                        </p:attrNameLst>
                                      </p:cBhvr>
                                      <p:to>
                                        <p:strVal val="visible"/>
                                      </p:to>
                                    </p:set>
                                    <p:animEffect transition="in" filter="fade">
                                      <p:cBhvr>
                                        <p:cTn id="168" dur="500"/>
                                        <p:tgtEl>
                                          <p:spTgt spid="145"/>
                                        </p:tgtEl>
                                      </p:cBhvr>
                                    </p:animEffect>
                                  </p:childTnLst>
                                </p:cTn>
                              </p:par>
                              <p:par>
                                <p:cTn id="169" presetID="10" presetClass="entr" presetSubtype="0" fill="hold" grpId="0" nodeType="withEffect">
                                  <p:stCondLst>
                                    <p:cond delay="0"/>
                                  </p:stCondLst>
                                  <p:childTnLst>
                                    <p:set>
                                      <p:cBhvr>
                                        <p:cTn id="170" dur="1" fill="hold">
                                          <p:stCondLst>
                                            <p:cond delay="0"/>
                                          </p:stCondLst>
                                        </p:cTn>
                                        <p:tgtEl>
                                          <p:spTgt spid="142"/>
                                        </p:tgtEl>
                                        <p:attrNameLst>
                                          <p:attrName>style.visibility</p:attrName>
                                        </p:attrNameLst>
                                      </p:cBhvr>
                                      <p:to>
                                        <p:strVal val="visible"/>
                                      </p:to>
                                    </p:set>
                                    <p:animEffect transition="in" filter="fade">
                                      <p:cBhvr>
                                        <p:cTn id="171" dur="500"/>
                                        <p:tgtEl>
                                          <p:spTgt spid="142"/>
                                        </p:tgtEl>
                                      </p:cBhvr>
                                    </p:animEffect>
                                  </p:childTnLst>
                                </p:cTn>
                              </p:par>
                              <p:par>
                                <p:cTn id="172" presetID="10" presetClass="entr" presetSubtype="0" fill="hold" nodeType="withEffect">
                                  <p:stCondLst>
                                    <p:cond delay="0"/>
                                  </p:stCondLst>
                                  <p:childTnLst>
                                    <p:set>
                                      <p:cBhvr>
                                        <p:cTn id="173" dur="1" fill="hold">
                                          <p:stCondLst>
                                            <p:cond delay="0"/>
                                          </p:stCondLst>
                                        </p:cTn>
                                        <p:tgtEl>
                                          <p:spTgt spid="143"/>
                                        </p:tgtEl>
                                        <p:attrNameLst>
                                          <p:attrName>style.visibility</p:attrName>
                                        </p:attrNameLst>
                                      </p:cBhvr>
                                      <p:to>
                                        <p:strVal val="visible"/>
                                      </p:to>
                                    </p:set>
                                    <p:animEffect transition="in" filter="fade">
                                      <p:cBhvr>
                                        <p:cTn id="174" dur="500"/>
                                        <p:tgtEl>
                                          <p:spTgt spid="143"/>
                                        </p:tgtEl>
                                      </p:cBhvr>
                                    </p:animEffect>
                                  </p:childTnLst>
                                </p:cTn>
                              </p:par>
                              <p:par>
                                <p:cTn id="175" presetID="10" presetClass="entr" presetSubtype="0" fill="hold" grpId="0" nodeType="withEffect">
                                  <p:stCondLst>
                                    <p:cond delay="0"/>
                                  </p:stCondLst>
                                  <p:childTnLst>
                                    <p:set>
                                      <p:cBhvr>
                                        <p:cTn id="176" dur="1" fill="hold">
                                          <p:stCondLst>
                                            <p:cond delay="0"/>
                                          </p:stCondLst>
                                        </p:cTn>
                                        <p:tgtEl>
                                          <p:spTgt spid="141"/>
                                        </p:tgtEl>
                                        <p:attrNameLst>
                                          <p:attrName>style.visibility</p:attrName>
                                        </p:attrNameLst>
                                      </p:cBhvr>
                                      <p:to>
                                        <p:strVal val="visible"/>
                                      </p:to>
                                    </p:set>
                                    <p:animEffect transition="in" filter="fade">
                                      <p:cBhvr>
                                        <p:cTn id="177" dur="500"/>
                                        <p:tgtEl>
                                          <p:spTgt spid="141"/>
                                        </p:tgtEl>
                                      </p:cBhvr>
                                    </p:animEffect>
                                  </p:childTnLst>
                                </p:cTn>
                              </p:par>
                            </p:childTnLst>
                          </p:cTn>
                        </p:par>
                      </p:childTnLst>
                    </p:cTn>
                  </p:par>
                  <p:par>
                    <p:cTn id="178" fill="hold">
                      <p:stCondLst>
                        <p:cond delay="indefinite"/>
                      </p:stCondLst>
                      <p:childTnLst>
                        <p:par>
                          <p:cTn id="179" fill="hold">
                            <p:stCondLst>
                              <p:cond delay="0"/>
                            </p:stCondLst>
                            <p:childTnLst>
                              <p:par>
                                <p:cTn id="180" presetID="10" presetClass="entr" presetSubtype="0" fill="hold" nodeType="clickEffect">
                                  <p:stCondLst>
                                    <p:cond delay="0"/>
                                  </p:stCondLst>
                                  <p:childTnLst>
                                    <p:set>
                                      <p:cBhvr>
                                        <p:cTn id="181" dur="1" fill="hold">
                                          <p:stCondLst>
                                            <p:cond delay="0"/>
                                          </p:stCondLst>
                                        </p:cTn>
                                        <p:tgtEl>
                                          <p:spTgt spid="149"/>
                                        </p:tgtEl>
                                        <p:attrNameLst>
                                          <p:attrName>style.visibility</p:attrName>
                                        </p:attrNameLst>
                                      </p:cBhvr>
                                      <p:to>
                                        <p:strVal val="visible"/>
                                      </p:to>
                                    </p:set>
                                    <p:animEffect transition="in" filter="fade">
                                      <p:cBhvr>
                                        <p:cTn id="182" dur="500"/>
                                        <p:tgtEl>
                                          <p:spTgt spid="149"/>
                                        </p:tgtEl>
                                      </p:cBhvr>
                                    </p:animEffect>
                                  </p:childTnLst>
                                </p:cTn>
                              </p:par>
                              <p:par>
                                <p:cTn id="183" presetID="10" presetClass="entr" presetSubtype="0" fill="hold" grpId="0" nodeType="withEffect">
                                  <p:stCondLst>
                                    <p:cond delay="0"/>
                                  </p:stCondLst>
                                  <p:childTnLst>
                                    <p:set>
                                      <p:cBhvr>
                                        <p:cTn id="184" dur="1" fill="hold">
                                          <p:stCondLst>
                                            <p:cond delay="0"/>
                                          </p:stCondLst>
                                        </p:cTn>
                                        <p:tgtEl>
                                          <p:spTgt spid="147"/>
                                        </p:tgtEl>
                                        <p:attrNameLst>
                                          <p:attrName>style.visibility</p:attrName>
                                        </p:attrNameLst>
                                      </p:cBhvr>
                                      <p:to>
                                        <p:strVal val="visible"/>
                                      </p:to>
                                    </p:set>
                                    <p:animEffect transition="in" filter="fade">
                                      <p:cBhvr>
                                        <p:cTn id="185" dur="500"/>
                                        <p:tgtEl>
                                          <p:spTgt spid="147"/>
                                        </p:tgtEl>
                                      </p:cBhvr>
                                    </p:animEffect>
                                  </p:childTnLst>
                                </p:cTn>
                              </p:par>
                              <p:par>
                                <p:cTn id="186" presetID="10" presetClass="entr" presetSubtype="0" fill="hold" nodeType="withEffect">
                                  <p:stCondLst>
                                    <p:cond delay="0"/>
                                  </p:stCondLst>
                                  <p:childTnLst>
                                    <p:set>
                                      <p:cBhvr>
                                        <p:cTn id="187" dur="1" fill="hold">
                                          <p:stCondLst>
                                            <p:cond delay="0"/>
                                          </p:stCondLst>
                                        </p:cTn>
                                        <p:tgtEl>
                                          <p:spTgt spid="148"/>
                                        </p:tgtEl>
                                        <p:attrNameLst>
                                          <p:attrName>style.visibility</p:attrName>
                                        </p:attrNameLst>
                                      </p:cBhvr>
                                      <p:to>
                                        <p:strVal val="visible"/>
                                      </p:to>
                                    </p:set>
                                    <p:animEffect transition="in" filter="fade">
                                      <p:cBhvr>
                                        <p:cTn id="188" dur="500"/>
                                        <p:tgtEl>
                                          <p:spTgt spid="148"/>
                                        </p:tgtEl>
                                      </p:cBhvr>
                                    </p:animEffect>
                                  </p:childTnLst>
                                </p:cTn>
                              </p:par>
                              <p:par>
                                <p:cTn id="189" presetID="10" presetClass="entr" presetSubtype="0" fill="hold" grpId="0" nodeType="withEffect">
                                  <p:stCondLst>
                                    <p:cond delay="0"/>
                                  </p:stCondLst>
                                  <p:childTnLst>
                                    <p:set>
                                      <p:cBhvr>
                                        <p:cTn id="190" dur="1" fill="hold">
                                          <p:stCondLst>
                                            <p:cond delay="0"/>
                                          </p:stCondLst>
                                        </p:cTn>
                                        <p:tgtEl>
                                          <p:spTgt spid="146"/>
                                        </p:tgtEl>
                                        <p:attrNameLst>
                                          <p:attrName>style.visibility</p:attrName>
                                        </p:attrNameLst>
                                      </p:cBhvr>
                                      <p:to>
                                        <p:strVal val="visible"/>
                                      </p:to>
                                    </p:set>
                                    <p:animEffect transition="in" filter="fade">
                                      <p:cBhvr>
                                        <p:cTn id="191" dur="500"/>
                                        <p:tgtEl>
                                          <p:spTgt spid="1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2" grpId="0" animBg="1"/>
      <p:bldP spid="114" grpId="0"/>
      <p:bldP spid="115" grpId="0" animBg="1"/>
      <p:bldP spid="116" grpId="0" animBg="1"/>
      <p:bldP spid="117" grpId="0" animBg="1"/>
      <p:bldP spid="118" grpId="0" animBg="1"/>
      <p:bldP spid="119" grpId="0" animBg="1"/>
      <p:bldP spid="124" grpId="0" animBg="1"/>
      <p:bldP spid="125" grpId="0"/>
      <p:bldP spid="126" grpId="0" animBg="1"/>
      <p:bldP spid="128" grpId="0" animBg="1"/>
      <p:bldP spid="141" grpId="0" animBg="1"/>
      <p:bldP spid="142" grpId="0"/>
      <p:bldP spid="145" grpId="0" animBg="1"/>
      <p:bldP spid="146" grpId="0" animBg="1"/>
      <p:bldP spid="147" grpId="0"/>
      <p:bldP spid="161" grpId="0" animBg="1"/>
      <p:bldP spid="166" grpId="0" animBg="1"/>
      <p:bldP spid="191" grpId="0" animBg="1"/>
      <p:bldP spid="180" grpId="0" animBg="1"/>
      <p:bldP spid="190" grpId="0" animBg="1"/>
      <p:bldP spid="181" grpId="0"/>
      <p:bldP spid="187" grpId="0" animBg="1"/>
      <p:bldP spid="188" grpId="0"/>
      <p:bldP spid="177" grpId="0" animBg="1"/>
      <p:bldP spid="179" grpId="0"/>
      <p:bldP spid="168" grpId="0" animBg="1"/>
      <p:bldP spid="169" grpId="0" animBg="1"/>
      <p:bldP spid="167"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1787349" y="4541466"/>
            <a:ext cx="9134475" cy="1885950"/>
          </a:xfrm>
          <a:prstGeom prst="rect">
            <a:avLst/>
          </a:prstGeom>
        </p:spPr>
      </p:pic>
      <p:sp>
        <p:nvSpPr>
          <p:cNvPr id="2" name="Title 1"/>
          <p:cNvSpPr txBox="1">
            <a:spLocks/>
          </p:cNvSpPr>
          <p:nvPr/>
        </p:nvSpPr>
        <p:spPr>
          <a:xfrm>
            <a:off x="199795" y="82543"/>
            <a:ext cx="11884506" cy="1052854"/>
          </a:xfrm>
          <a:prstGeom prst="rect">
            <a:avLst/>
          </a:prstGeom>
        </p:spPr>
        <p:txBody>
          <a:bodyPr vert="horz" lIns="186521" tIns="46630" rIns="186521" bIns="46630" rtlCol="0" anchor="t">
            <a:noAutofit/>
          </a:bodyPr>
          <a:lstStyle>
            <a:defPPr>
              <a:defRPr lang="en-US"/>
            </a:defPPr>
            <a:lvl1pPr defTabSz="896157">
              <a:spcBef>
                <a:spcPct val="0"/>
              </a:spcBef>
              <a:buNone/>
              <a:defRPr sz="4705">
                <a:solidFill>
                  <a:srgbClr val="00B0F0"/>
                </a:solidFill>
                <a:latin typeface="+mj-lt"/>
                <a:ea typeface="+mj-ea"/>
                <a:cs typeface="+mj-cs"/>
              </a:defRPr>
            </a:lvl1pPr>
          </a:lstStyle>
          <a:p>
            <a:pPr defTabSz="913991"/>
            <a:r>
              <a:rPr lang="en-US" sz="4799" kern="0" dirty="0"/>
              <a:t>Simple ADF:</a:t>
            </a:r>
          </a:p>
        </p:txBody>
      </p:sp>
      <p:sp>
        <p:nvSpPr>
          <p:cNvPr id="75" name="Title 1"/>
          <p:cNvSpPr txBox="1">
            <a:spLocks/>
          </p:cNvSpPr>
          <p:nvPr/>
        </p:nvSpPr>
        <p:spPr>
          <a:xfrm>
            <a:off x="808804" y="1135397"/>
            <a:ext cx="11008844" cy="2590432"/>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571390" indent="-571390" defTabSz="932563">
              <a:buFont typeface="Arial" panose="020B0604020202020204" pitchFamily="34" charset="0"/>
              <a:buChar char="•"/>
              <a:defRPr/>
            </a:pPr>
            <a:r>
              <a:rPr lang="en-US" sz="3264" b="1" dirty="0">
                <a:solidFill>
                  <a:schemeClr val="bg1"/>
                </a:solidFill>
              </a:rPr>
              <a:t>Business Goal: </a:t>
            </a:r>
            <a:r>
              <a:rPr lang="en-US" sz="3264" b="1" dirty="0">
                <a:solidFill>
                  <a:srgbClr val="C00000"/>
                </a:solidFill>
              </a:rPr>
              <a:t>Transform and Analyze Web Logs each month</a:t>
            </a:r>
          </a:p>
          <a:p>
            <a:pPr marL="571390" indent="-571390" defTabSz="932563">
              <a:buFont typeface="Arial" panose="020B0604020202020204" pitchFamily="34" charset="0"/>
              <a:buChar char="•"/>
              <a:defRPr/>
            </a:pPr>
            <a:endParaRPr lang="en-US" sz="3264" b="1" dirty="0">
              <a:solidFill>
                <a:srgbClr val="C00000"/>
              </a:solidFill>
            </a:endParaRPr>
          </a:p>
          <a:p>
            <a:pPr marL="571390" indent="-571390" defTabSz="932563">
              <a:buFont typeface="Arial" panose="020B0604020202020204" pitchFamily="34" charset="0"/>
              <a:buChar char="•"/>
              <a:defRPr/>
            </a:pPr>
            <a:r>
              <a:rPr lang="en-US" sz="3264" b="1" dirty="0">
                <a:solidFill>
                  <a:schemeClr val="bg1"/>
                </a:solidFill>
              </a:rPr>
              <a:t>Design Process: </a:t>
            </a:r>
            <a:r>
              <a:rPr lang="en-US" sz="3264" b="1" dirty="0">
                <a:solidFill>
                  <a:srgbClr val="C00000"/>
                </a:solidFill>
              </a:rPr>
              <a:t>Transform Raw Weblogs, using a Hive Query, storing the results in Blob Storage</a:t>
            </a:r>
          </a:p>
        </p:txBody>
      </p:sp>
      <p:cxnSp>
        <p:nvCxnSpPr>
          <p:cNvPr id="6" name="Straight Arrow Connector 5"/>
          <p:cNvCxnSpPr/>
          <p:nvPr/>
        </p:nvCxnSpPr>
        <p:spPr>
          <a:xfrm>
            <a:off x="1139774" y="4707682"/>
            <a:ext cx="1269004" cy="364797"/>
          </a:xfrm>
          <a:prstGeom prst="straightConnector1">
            <a:avLst/>
          </a:prstGeom>
          <a:ln w="9525" cap="flat" cmpd="sng" algn="ctr">
            <a:solidFill>
              <a:schemeClr val="accent4"/>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8" name="Rectangle 7"/>
          <p:cNvSpPr/>
          <p:nvPr/>
        </p:nvSpPr>
        <p:spPr>
          <a:xfrm>
            <a:off x="285338" y="3922137"/>
            <a:ext cx="1312456" cy="923330"/>
          </a:xfrm>
          <a:prstGeom prst="rect">
            <a:avLst/>
          </a:prstGeom>
        </p:spPr>
        <p:txBody>
          <a:bodyPr wrap="square">
            <a:spAutoFit/>
          </a:bodyPr>
          <a:lstStyle/>
          <a:p>
            <a:pPr defTabSz="914224"/>
            <a:r>
              <a:rPr lang="en-US" kern="0" dirty="0">
                <a:solidFill>
                  <a:schemeClr val="accent4">
                    <a:lumMod val="75000"/>
                  </a:schemeClr>
                </a:solidFill>
              </a:rPr>
              <a:t>Web Logs Loaded to Blob</a:t>
            </a:r>
          </a:p>
        </p:txBody>
      </p:sp>
      <p:cxnSp>
        <p:nvCxnSpPr>
          <p:cNvPr id="83" name="Straight Arrow Connector 82"/>
          <p:cNvCxnSpPr/>
          <p:nvPr/>
        </p:nvCxnSpPr>
        <p:spPr>
          <a:xfrm flipV="1">
            <a:off x="9696450" y="3828737"/>
            <a:ext cx="866775" cy="1243742"/>
          </a:xfrm>
          <a:prstGeom prst="straightConnector1">
            <a:avLst/>
          </a:prstGeom>
          <a:ln w="9525" cap="flat" cmpd="sng" algn="ctr">
            <a:solidFill>
              <a:schemeClr val="accent4"/>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84" name="Rectangle 83"/>
          <p:cNvSpPr/>
          <p:nvPr/>
        </p:nvSpPr>
        <p:spPr>
          <a:xfrm>
            <a:off x="10668723" y="3193040"/>
            <a:ext cx="1371909" cy="1224224"/>
          </a:xfrm>
          <a:prstGeom prst="rect">
            <a:avLst/>
          </a:prstGeom>
        </p:spPr>
        <p:txBody>
          <a:bodyPr wrap="square">
            <a:spAutoFit/>
          </a:bodyPr>
          <a:lstStyle/>
          <a:p>
            <a:pPr defTabSz="914224"/>
            <a:r>
              <a:rPr lang="en-US" kern="0" dirty="0">
                <a:solidFill>
                  <a:schemeClr val="accent4">
                    <a:lumMod val="75000"/>
                  </a:schemeClr>
                </a:solidFill>
              </a:rPr>
              <a:t>Files ready for analysis and use in AzureML</a:t>
            </a:r>
          </a:p>
        </p:txBody>
      </p:sp>
      <p:pic>
        <p:nvPicPr>
          <p:cNvPr id="7" name="Picture 6"/>
          <p:cNvPicPr>
            <a:picLocks noChangeAspect="1"/>
          </p:cNvPicPr>
          <p:nvPr/>
        </p:nvPicPr>
        <p:blipFill>
          <a:blip r:embed="rId4">
            <a:duotone>
              <a:prstClr val="black"/>
              <a:schemeClr val="accent4">
                <a:tint val="45000"/>
                <a:satMod val="400000"/>
              </a:schemeClr>
            </a:duotone>
          </a:blip>
          <a:stretch>
            <a:fillRect/>
          </a:stretch>
        </p:blipFill>
        <p:spPr>
          <a:xfrm>
            <a:off x="5925382" y="4778683"/>
            <a:ext cx="1202326" cy="1214348"/>
          </a:xfrm>
          <a:prstGeom prst="rect">
            <a:avLst/>
          </a:prstGeom>
        </p:spPr>
      </p:pic>
      <p:cxnSp>
        <p:nvCxnSpPr>
          <p:cNvPr id="17" name="Straight Arrow Connector 16"/>
          <p:cNvCxnSpPr/>
          <p:nvPr/>
        </p:nvCxnSpPr>
        <p:spPr>
          <a:xfrm>
            <a:off x="6458552" y="4225491"/>
            <a:ext cx="115504" cy="553192"/>
          </a:xfrm>
          <a:prstGeom prst="straightConnector1">
            <a:avLst/>
          </a:prstGeom>
          <a:ln w="9525" cap="flat" cmpd="sng" algn="ctr">
            <a:solidFill>
              <a:schemeClr val="accent4"/>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18" name="Rectangle 17"/>
          <p:cNvSpPr/>
          <p:nvPr/>
        </p:nvSpPr>
        <p:spPr>
          <a:xfrm>
            <a:off x="5381320" y="3556035"/>
            <a:ext cx="2385472" cy="923330"/>
          </a:xfrm>
          <a:prstGeom prst="rect">
            <a:avLst/>
          </a:prstGeom>
        </p:spPr>
        <p:txBody>
          <a:bodyPr wrap="square">
            <a:spAutoFit/>
          </a:bodyPr>
          <a:lstStyle/>
          <a:p>
            <a:pPr defTabSz="914224"/>
            <a:r>
              <a:rPr lang="en-US" kern="0" dirty="0">
                <a:solidFill>
                  <a:schemeClr val="accent4">
                    <a:lumMod val="75000"/>
                  </a:schemeClr>
                </a:solidFill>
              </a:rPr>
              <a:t>HDInsight HIVE query to transform Log entries</a:t>
            </a:r>
          </a:p>
        </p:txBody>
      </p:sp>
    </p:spTree>
    <p:extLst>
      <p:ext uri="{BB962C8B-B14F-4D97-AF65-F5344CB8AC3E}">
        <p14:creationId xmlns:p14="http://schemas.microsoft.com/office/powerpoint/2010/main" val="3996305293"/>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fade">
                                      <p:cBhvr>
                                        <p:cTn id="19" dur="500"/>
                                        <p:tgtEl>
                                          <p:spTgt spid="17"/>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childTnLst>
                          </p:cTn>
                        </p:par>
                        <p:par>
                          <p:cTn id="23" fill="hold">
                            <p:stCondLst>
                              <p:cond delay="500"/>
                            </p:stCondLst>
                            <p:childTnLst>
                              <p:par>
                                <p:cTn id="24" presetID="10" presetClass="entr" presetSubtype="0" fill="hold"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fade">
                                      <p:cBhvr>
                                        <p:cTn id="26" dur="500"/>
                                        <p:tgtEl>
                                          <p:spTgt spid="7"/>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83"/>
                                        </p:tgtEl>
                                        <p:attrNameLst>
                                          <p:attrName>style.visibility</p:attrName>
                                        </p:attrNameLst>
                                      </p:cBhvr>
                                      <p:to>
                                        <p:strVal val="visible"/>
                                      </p:to>
                                    </p:set>
                                    <p:animEffect transition="in" filter="fade">
                                      <p:cBhvr>
                                        <p:cTn id="31" dur="500"/>
                                        <p:tgtEl>
                                          <p:spTgt spid="83"/>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84"/>
                                        </p:tgtEl>
                                        <p:attrNameLst>
                                          <p:attrName>style.visibility</p:attrName>
                                        </p:attrNameLst>
                                      </p:cBhvr>
                                      <p:to>
                                        <p:strVal val="visible"/>
                                      </p:to>
                                    </p:set>
                                    <p:animEffect transition="in" filter="fade">
                                      <p:cBhvr>
                                        <p:cTn id="34" dur="500"/>
                                        <p:tgtEl>
                                          <p:spTgt spid="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84" grpId="0"/>
      <p:bldP spid="18" grpId="0"/>
    </p:bld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61925"/>
            <a:ext cx="7267575" cy="1042988"/>
          </a:xfrm>
        </p:spPr>
        <p:txBody>
          <a:bodyPr vert="horz" lIns="186521" tIns="46630" rIns="186521" bIns="46630" rtlCol="0" anchor="t">
            <a:noAutofit/>
          </a:bodyPr>
          <a:lstStyle/>
          <a:p>
            <a:r>
              <a:rPr lang="en-US" dirty="0">
                <a:solidFill>
                  <a:schemeClr val="bg1"/>
                </a:solidFill>
              </a:rPr>
              <a:t>2. Create the Data Factory</a:t>
            </a:r>
          </a:p>
        </p:txBody>
      </p:sp>
      <p:sp>
        <p:nvSpPr>
          <p:cNvPr id="3" name="Title 1"/>
          <p:cNvSpPr txBox="1">
            <a:spLocks/>
          </p:cNvSpPr>
          <p:nvPr/>
        </p:nvSpPr>
        <p:spPr>
          <a:xfrm>
            <a:off x="2550442" y="2367891"/>
            <a:ext cx="7174535" cy="2192767"/>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4400" dirty="0">
                <a:solidFill>
                  <a:schemeClr val="bg1"/>
                </a:solidFill>
              </a:rPr>
              <a:t>Portal, PowerShell, Visual Studio, Azure Resource Manager Templates, SDKs</a:t>
            </a:r>
          </a:p>
        </p:txBody>
      </p:sp>
    </p:spTree>
    <p:extLst>
      <p:ext uri="{BB962C8B-B14F-4D97-AF65-F5344CB8AC3E}">
        <p14:creationId xmlns:p14="http://schemas.microsoft.com/office/powerpoint/2010/main" val="11917502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99796" y="82543"/>
            <a:ext cx="5485118" cy="2424260"/>
          </a:xfrm>
          <a:prstGeom prst="rect">
            <a:avLst/>
          </a:prstGeom>
        </p:spPr>
        <p:txBody>
          <a:bodyPr vert="horz" lIns="186521" tIns="46630" rIns="186521" bIns="46630" rtlCol="0" anchor="t">
            <a:noAutofit/>
          </a:bodyPr>
          <a:lstStyle>
            <a:defPPr>
              <a:defRPr lang="en-US"/>
            </a:defPPr>
            <a:lvl1pPr defTabSz="896157">
              <a:spcBef>
                <a:spcPct val="0"/>
              </a:spcBef>
              <a:buNone/>
              <a:defRPr sz="4705">
                <a:solidFill>
                  <a:srgbClr val="00B0F0"/>
                </a:solidFill>
                <a:latin typeface="+mj-lt"/>
                <a:ea typeface="+mj-ea"/>
                <a:cs typeface="+mj-cs"/>
              </a:defRPr>
            </a:lvl1pPr>
          </a:lstStyle>
          <a:p>
            <a:pPr defTabSz="913991"/>
            <a:r>
              <a:rPr lang="en-US" sz="4799" kern="0" dirty="0"/>
              <a:t>Using the Portal</a:t>
            </a:r>
          </a:p>
        </p:txBody>
      </p:sp>
      <p:pic>
        <p:nvPicPr>
          <p:cNvPr id="3" name="Picture 2"/>
          <p:cNvPicPr>
            <a:picLocks noChangeAspect="1"/>
          </p:cNvPicPr>
          <p:nvPr/>
        </p:nvPicPr>
        <p:blipFill>
          <a:blip r:embed="rId3"/>
          <a:stretch>
            <a:fillRect/>
          </a:stretch>
        </p:blipFill>
        <p:spPr>
          <a:xfrm>
            <a:off x="5818229" y="497"/>
            <a:ext cx="6618246" cy="4106279"/>
          </a:xfrm>
          <a:prstGeom prst="rect">
            <a:avLst/>
          </a:prstGeom>
        </p:spPr>
      </p:pic>
      <p:sp>
        <p:nvSpPr>
          <p:cNvPr id="6" name="Title 1"/>
          <p:cNvSpPr txBox="1">
            <a:spLocks/>
          </p:cNvSpPr>
          <p:nvPr/>
        </p:nvSpPr>
        <p:spPr>
          <a:xfrm>
            <a:off x="757082" y="4430856"/>
            <a:ext cx="10361226" cy="2285676"/>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571390" indent="-571390" defTabSz="932563">
              <a:buFont typeface="Arial" panose="020B0604020202020204" pitchFamily="34" charset="0"/>
              <a:buChar char="•"/>
              <a:defRPr/>
            </a:pPr>
            <a:r>
              <a:rPr lang="en-US" sz="4488" b="1" dirty="0">
                <a:solidFill>
                  <a:schemeClr val="bg1"/>
                </a:solidFill>
              </a:rPr>
              <a:t>Quick and easy</a:t>
            </a:r>
          </a:p>
          <a:p>
            <a:pPr marL="571390" indent="-571390" defTabSz="932563">
              <a:buFont typeface="Arial" panose="020B0604020202020204" pitchFamily="34" charset="0"/>
              <a:buChar char="•"/>
              <a:defRPr/>
            </a:pPr>
            <a:r>
              <a:rPr lang="en-US" sz="4488" b="1" dirty="0">
                <a:solidFill>
                  <a:schemeClr val="bg1"/>
                </a:solidFill>
              </a:rPr>
              <a:t>Use for Exploration</a:t>
            </a:r>
          </a:p>
          <a:p>
            <a:pPr marL="571390" indent="-571390" defTabSz="932563">
              <a:buFont typeface="Arial" panose="020B0604020202020204" pitchFamily="34" charset="0"/>
              <a:buChar char="•"/>
              <a:defRPr/>
            </a:pPr>
            <a:r>
              <a:rPr lang="en-US" sz="4488" b="1" dirty="0">
                <a:solidFill>
                  <a:schemeClr val="bg1"/>
                </a:solidFill>
              </a:rPr>
              <a:t>Use when teaching or in a Demo</a:t>
            </a:r>
          </a:p>
        </p:txBody>
      </p:sp>
    </p:spTree>
    <p:extLst>
      <p:ext uri="{BB962C8B-B14F-4D97-AF65-F5344CB8AC3E}">
        <p14:creationId xmlns:p14="http://schemas.microsoft.com/office/powerpoint/2010/main" val="370601715"/>
      </p:ext>
    </p:extLst>
  </p:cSld>
  <p:clrMapOvr>
    <a:masterClrMapping/>
  </p:clrMapOvr>
  <p:transition spd="slow">
    <p:wipe/>
  </p:transition>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99797" y="82543"/>
            <a:ext cx="5408929" cy="3033774"/>
          </a:xfrm>
          <a:prstGeom prst="rect">
            <a:avLst/>
          </a:prstGeom>
        </p:spPr>
        <p:txBody>
          <a:bodyPr vert="horz" lIns="186521" tIns="46630" rIns="186521" bIns="46630" rtlCol="0" anchor="t">
            <a:noAutofit/>
          </a:bodyPr>
          <a:lstStyle>
            <a:defPPr>
              <a:defRPr lang="en-US"/>
            </a:defPPr>
            <a:lvl1pPr defTabSz="896157">
              <a:spcBef>
                <a:spcPct val="0"/>
              </a:spcBef>
              <a:buNone/>
              <a:defRPr sz="4705">
                <a:solidFill>
                  <a:srgbClr val="00B0F0"/>
                </a:solidFill>
                <a:latin typeface="+mj-lt"/>
                <a:ea typeface="+mj-ea"/>
                <a:cs typeface="+mj-cs"/>
              </a:defRPr>
            </a:lvl1pPr>
          </a:lstStyle>
          <a:p>
            <a:pPr defTabSz="913991"/>
            <a:r>
              <a:rPr lang="en-US" sz="4799" kern="0" dirty="0"/>
              <a:t>Using PowerShell</a:t>
            </a:r>
          </a:p>
        </p:txBody>
      </p:sp>
      <p:pic>
        <p:nvPicPr>
          <p:cNvPr id="3" name="Picture 2"/>
          <p:cNvPicPr>
            <a:picLocks noChangeAspect="1"/>
          </p:cNvPicPr>
          <p:nvPr/>
        </p:nvPicPr>
        <p:blipFill>
          <a:blip r:embed="rId3"/>
          <a:stretch>
            <a:fillRect/>
          </a:stretch>
        </p:blipFill>
        <p:spPr>
          <a:xfrm>
            <a:off x="5749231" y="496"/>
            <a:ext cx="6686363" cy="4258658"/>
          </a:xfrm>
          <a:prstGeom prst="rect">
            <a:avLst/>
          </a:prstGeom>
        </p:spPr>
      </p:pic>
      <p:sp>
        <p:nvSpPr>
          <p:cNvPr id="4" name="Title 1"/>
          <p:cNvSpPr txBox="1">
            <a:spLocks/>
          </p:cNvSpPr>
          <p:nvPr/>
        </p:nvSpPr>
        <p:spPr>
          <a:xfrm>
            <a:off x="199796" y="4411532"/>
            <a:ext cx="11884506" cy="2285676"/>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571390" indent="-571390" defTabSz="932563">
              <a:buFont typeface="Arial" panose="020B0604020202020204" pitchFamily="34" charset="0"/>
              <a:buChar char="•"/>
              <a:defRPr/>
            </a:pPr>
            <a:r>
              <a:rPr lang="en-US" sz="5399" b="1" dirty="0">
                <a:solidFill>
                  <a:schemeClr val="bg1"/>
                </a:solidFill>
              </a:rPr>
              <a:t>Use in MS Clients</a:t>
            </a:r>
          </a:p>
          <a:p>
            <a:pPr marL="571390" indent="-571390" defTabSz="932563">
              <a:buFont typeface="Arial" panose="020B0604020202020204" pitchFamily="34" charset="0"/>
              <a:buChar char="•"/>
              <a:defRPr/>
            </a:pPr>
            <a:r>
              <a:rPr lang="en-US" sz="5399" b="1" dirty="0">
                <a:solidFill>
                  <a:schemeClr val="bg1"/>
                </a:solidFill>
              </a:rPr>
              <a:t>Use for Automation</a:t>
            </a:r>
          </a:p>
          <a:p>
            <a:pPr marL="571390" indent="-571390" defTabSz="932563">
              <a:buFont typeface="Arial" panose="020B0604020202020204" pitchFamily="34" charset="0"/>
              <a:buChar char="•"/>
              <a:defRPr/>
            </a:pPr>
            <a:r>
              <a:rPr lang="en-US" sz="5399" b="1" dirty="0">
                <a:solidFill>
                  <a:schemeClr val="bg1"/>
                </a:solidFill>
              </a:rPr>
              <a:t>Use for quick set up and tear down</a:t>
            </a:r>
          </a:p>
        </p:txBody>
      </p:sp>
    </p:spTree>
    <p:extLst>
      <p:ext uri="{BB962C8B-B14F-4D97-AF65-F5344CB8AC3E}">
        <p14:creationId xmlns:p14="http://schemas.microsoft.com/office/powerpoint/2010/main" val="1610515199"/>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Data Science Process and Platform</a:t>
            </a:r>
          </a:p>
        </p:txBody>
      </p:sp>
      <p:pic>
        <p:nvPicPr>
          <p:cNvPr id="5" name="Picture 4"/>
          <p:cNvPicPr>
            <a:picLocks noChangeAspect="1"/>
          </p:cNvPicPr>
          <p:nvPr/>
        </p:nvPicPr>
        <p:blipFill>
          <a:blip r:embed="rId3"/>
          <a:stretch>
            <a:fillRect/>
          </a:stretch>
        </p:blipFill>
        <p:spPr>
          <a:xfrm>
            <a:off x="2665503" y="2115427"/>
            <a:ext cx="7354808" cy="2902911"/>
          </a:xfrm>
          <a:prstGeom prst="rect">
            <a:avLst/>
          </a:prstGeom>
        </p:spPr>
      </p:pic>
    </p:spTree>
    <p:extLst>
      <p:ext uri="{BB962C8B-B14F-4D97-AF65-F5344CB8AC3E}">
        <p14:creationId xmlns:p14="http://schemas.microsoft.com/office/powerpoint/2010/main" val="46715371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99795" y="82543"/>
            <a:ext cx="11884506" cy="976665"/>
          </a:xfrm>
          <a:prstGeom prst="rect">
            <a:avLst/>
          </a:prstGeom>
        </p:spPr>
        <p:txBody>
          <a:bodyPr vert="horz" lIns="186521" tIns="46630" rIns="186521" bIns="46630" rtlCol="0" anchor="t">
            <a:noAutofit/>
          </a:bodyPr>
          <a:lstStyle>
            <a:defPPr>
              <a:defRPr lang="en-US"/>
            </a:defPPr>
            <a:lvl1pPr defTabSz="896157">
              <a:spcBef>
                <a:spcPct val="0"/>
              </a:spcBef>
              <a:buNone/>
              <a:defRPr sz="4705">
                <a:solidFill>
                  <a:srgbClr val="00B0F0"/>
                </a:solidFill>
                <a:latin typeface="+mj-lt"/>
                <a:ea typeface="+mj-ea"/>
                <a:cs typeface="+mj-cs"/>
              </a:defRPr>
            </a:lvl1pPr>
          </a:lstStyle>
          <a:p>
            <a:pPr defTabSz="913991"/>
            <a:r>
              <a:rPr lang="en-US" sz="4799" kern="0" dirty="0"/>
              <a:t>PowerShell ADF Example</a:t>
            </a:r>
          </a:p>
        </p:txBody>
      </p:sp>
      <p:sp>
        <p:nvSpPr>
          <p:cNvPr id="4" name="Title 1"/>
          <p:cNvSpPr txBox="1">
            <a:spLocks/>
          </p:cNvSpPr>
          <p:nvPr/>
        </p:nvSpPr>
        <p:spPr>
          <a:xfrm>
            <a:off x="123103" y="1363965"/>
            <a:ext cx="12312491" cy="5333244"/>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742807" indent="-742807" defTabSz="932563">
              <a:buFont typeface="+mj-lt"/>
              <a:buAutoNum type="arabicPeriod"/>
              <a:defRPr/>
            </a:pPr>
            <a:r>
              <a:rPr lang="en-US" sz="3199" b="1" dirty="0">
                <a:solidFill>
                  <a:schemeClr val="bg1"/>
                </a:solidFill>
              </a:rPr>
              <a:t>Run </a:t>
            </a:r>
            <a:r>
              <a:rPr lang="en-US" sz="3199" b="1" dirty="0">
                <a:solidFill>
                  <a:srgbClr val="00B050"/>
                </a:solidFill>
                <a:latin typeface="Courier New" panose="02070309020205020404" pitchFamily="49" charset="0"/>
                <a:cs typeface="Courier New" panose="02070309020205020404" pitchFamily="49" charset="0"/>
              </a:rPr>
              <a:t>Add-</a:t>
            </a:r>
            <a:r>
              <a:rPr lang="en-US" sz="3199" b="1" dirty="0" err="1">
                <a:solidFill>
                  <a:srgbClr val="00B050"/>
                </a:solidFill>
                <a:latin typeface="Courier New" panose="02070309020205020404" pitchFamily="49" charset="0"/>
                <a:cs typeface="Courier New" panose="02070309020205020404" pitchFamily="49" charset="0"/>
              </a:rPr>
              <a:t>AzureAccount</a:t>
            </a:r>
            <a:r>
              <a:rPr lang="en-US" sz="3199" b="1" dirty="0">
                <a:solidFill>
                  <a:schemeClr val="bg1"/>
                </a:solidFill>
              </a:rPr>
              <a:t> and enter the user name and password</a:t>
            </a:r>
          </a:p>
          <a:p>
            <a:pPr marL="742807" indent="-742807" defTabSz="932563">
              <a:buFont typeface="+mj-lt"/>
              <a:buAutoNum type="arabicPeriod"/>
              <a:defRPr/>
            </a:pPr>
            <a:r>
              <a:rPr lang="en-US" sz="3199" b="1" dirty="0">
                <a:solidFill>
                  <a:schemeClr val="bg1"/>
                </a:solidFill>
              </a:rPr>
              <a:t>Run </a:t>
            </a:r>
            <a:r>
              <a:rPr lang="en-US" sz="3199" b="1" dirty="0">
                <a:solidFill>
                  <a:srgbClr val="00B050"/>
                </a:solidFill>
                <a:latin typeface="Courier New" panose="02070309020205020404" pitchFamily="49" charset="0"/>
                <a:cs typeface="Courier New" panose="02070309020205020404" pitchFamily="49" charset="0"/>
              </a:rPr>
              <a:t>Get-</a:t>
            </a:r>
            <a:r>
              <a:rPr lang="en-US" sz="3199" b="1" dirty="0" err="1">
                <a:solidFill>
                  <a:srgbClr val="00B050"/>
                </a:solidFill>
                <a:latin typeface="Courier New" panose="02070309020205020404" pitchFamily="49" charset="0"/>
                <a:cs typeface="Courier New" panose="02070309020205020404" pitchFamily="49" charset="0"/>
              </a:rPr>
              <a:t>AzureSubscription</a:t>
            </a:r>
            <a:r>
              <a:rPr lang="en-US" sz="3199" b="1" dirty="0">
                <a:solidFill>
                  <a:srgbClr val="00B050"/>
                </a:solidFill>
                <a:latin typeface="Courier New" panose="02070309020205020404" pitchFamily="49" charset="0"/>
                <a:cs typeface="Courier New" panose="02070309020205020404" pitchFamily="49" charset="0"/>
              </a:rPr>
              <a:t> </a:t>
            </a:r>
            <a:r>
              <a:rPr lang="en-US" sz="3199" b="1" dirty="0">
                <a:solidFill>
                  <a:schemeClr val="bg1"/>
                </a:solidFill>
              </a:rPr>
              <a:t>to view all the subscriptions for this account.</a:t>
            </a:r>
          </a:p>
          <a:p>
            <a:pPr marL="742807" indent="-742807" defTabSz="932563">
              <a:buFont typeface="+mj-lt"/>
              <a:buAutoNum type="arabicPeriod"/>
              <a:defRPr/>
            </a:pPr>
            <a:r>
              <a:rPr lang="en-US" sz="3199" b="1" dirty="0">
                <a:solidFill>
                  <a:schemeClr val="bg1"/>
                </a:solidFill>
              </a:rPr>
              <a:t>Run </a:t>
            </a:r>
            <a:r>
              <a:rPr lang="en-US" sz="3199" b="1" dirty="0">
                <a:solidFill>
                  <a:srgbClr val="00B050"/>
                </a:solidFill>
                <a:latin typeface="Courier New" panose="02070309020205020404" pitchFamily="49" charset="0"/>
                <a:cs typeface="Courier New" panose="02070309020205020404" pitchFamily="49" charset="0"/>
              </a:rPr>
              <a:t>Select-</a:t>
            </a:r>
            <a:r>
              <a:rPr lang="en-US" sz="3199" b="1" dirty="0" err="1">
                <a:solidFill>
                  <a:srgbClr val="00B050"/>
                </a:solidFill>
                <a:latin typeface="Courier New" panose="02070309020205020404" pitchFamily="49" charset="0"/>
                <a:cs typeface="Courier New" panose="02070309020205020404" pitchFamily="49" charset="0"/>
              </a:rPr>
              <a:t>AzureSubscription</a:t>
            </a:r>
            <a:r>
              <a:rPr lang="en-US" sz="3199" b="1" dirty="0">
                <a:solidFill>
                  <a:srgbClr val="00B050"/>
                </a:solidFill>
                <a:latin typeface="Courier New" panose="02070309020205020404" pitchFamily="49" charset="0"/>
                <a:cs typeface="Courier New" panose="02070309020205020404" pitchFamily="49" charset="0"/>
              </a:rPr>
              <a:t> </a:t>
            </a:r>
            <a:r>
              <a:rPr lang="en-US" sz="3199" b="1" dirty="0">
                <a:solidFill>
                  <a:schemeClr val="bg1"/>
                </a:solidFill>
              </a:rPr>
              <a:t>to select the subscription that you want to work with.</a:t>
            </a:r>
          </a:p>
          <a:p>
            <a:pPr marL="742807" indent="-742807" defTabSz="932563">
              <a:buFont typeface="+mj-lt"/>
              <a:buAutoNum type="arabicPeriod"/>
              <a:defRPr/>
            </a:pPr>
            <a:r>
              <a:rPr lang="en-US" sz="3199" b="1" dirty="0">
                <a:solidFill>
                  <a:schemeClr val="bg1"/>
                </a:solidFill>
              </a:rPr>
              <a:t>Run </a:t>
            </a:r>
            <a:r>
              <a:rPr lang="en-US" sz="3199" b="1" dirty="0">
                <a:solidFill>
                  <a:srgbClr val="00B050"/>
                </a:solidFill>
                <a:latin typeface="Courier New" panose="02070309020205020404" pitchFamily="49" charset="0"/>
                <a:cs typeface="Courier New" panose="02070309020205020404" pitchFamily="49" charset="0"/>
              </a:rPr>
              <a:t>Switch-</a:t>
            </a:r>
            <a:r>
              <a:rPr lang="en-US" sz="3199" b="1" dirty="0" err="1">
                <a:solidFill>
                  <a:srgbClr val="00B050"/>
                </a:solidFill>
                <a:latin typeface="Courier New" panose="02070309020205020404" pitchFamily="49" charset="0"/>
                <a:cs typeface="Courier New" panose="02070309020205020404" pitchFamily="49" charset="0"/>
              </a:rPr>
              <a:t>AzureMode</a:t>
            </a:r>
            <a:r>
              <a:rPr lang="en-US" sz="3199" b="1" dirty="0">
                <a:solidFill>
                  <a:srgbClr val="00B050"/>
                </a:solidFill>
                <a:latin typeface="Courier New" panose="02070309020205020404" pitchFamily="49" charset="0"/>
                <a:cs typeface="Courier New" panose="02070309020205020404" pitchFamily="49" charset="0"/>
              </a:rPr>
              <a:t> </a:t>
            </a:r>
            <a:r>
              <a:rPr lang="en-US" sz="3199" b="1" dirty="0" err="1">
                <a:solidFill>
                  <a:srgbClr val="00B050"/>
                </a:solidFill>
                <a:latin typeface="Courier New" panose="02070309020205020404" pitchFamily="49" charset="0"/>
                <a:cs typeface="Courier New" panose="02070309020205020404" pitchFamily="49" charset="0"/>
              </a:rPr>
              <a:t>AzureResourceManager</a:t>
            </a:r>
            <a:endParaRPr lang="en-US" sz="3199" b="1" dirty="0">
              <a:solidFill>
                <a:srgbClr val="00B050"/>
              </a:solidFill>
              <a:latin typeface="Courier New" panose="02070309020205020404" pitchFamily="49" charset="0"/>
              <a:cs typeface="Courier New" panose="02070309020205020404" pitchFamily="49" charset="0"/>
            </a:endParaRPr>
          </a:p>
          <a:p>
            <a:pPr marL="742807" indent="-742807" defTabSz="932563">
              <a:buFont typeface="+mj-lt"/>
              <a:buAutoNum type="arabicPeriod"/>
              <a:defRPr/>
            </a:pPr>
            <a:r>
              <a:rPr lang="en-US" sz="3199" b="1" dirty="0">
                <a:solidFill>
                  <a:schemeClr val="bg1"/>
                </a:solidFill>
              </a:rPr>
              <a:t>Run </a:t>
            </a:r>
            <a:r>
              <a:rPr lang="en-US" sz="3199" b="1" dirty="0">
                <a:solidFill>
                  <a:srgbClr val="00B050"/>
                </a:solidFill>
                <a:latin typeface="Courier New" panose="02070309020205020404" pitchFamily="49" charset="0"/>
                <a:cs typeface="Courier New" panose="02070309020205020404" pitchFamily="49" charset="0"/>
              </a:rPr>
              <a:t>New-</a:t>
            </a:r>
            <a:r>
              <a:rPr lang="en-US" sz="3199" b="1" dirty="0" err="1">
                <a:solidFill>
                  <a:srgbClr val="00B050"/>
                </a:solidFill>
                <a:latin typeface="Courier New" panose="02070309020205020404" pitchFamily="49" charset="0"/>
                <a:cs typeface="Courier New" panose="02070309020205020404" pitchFamily="49" charset="0"/>
              </a:rPr>
              <a:t>AzureResourceGroup</a:t>
            </a:r>
            <a:r>
              <a:rPr lang="en-US" sz="3199" b="1" dirty="0">
                <a:solidFill>
                  <a:srgbClr val="00B050"/>
                </a:solidFill>
                <a:latin typeface="Courier New" panose="02070309020205020404" pitchFamily="49" charset="0"/>
                <a:cs typeface="Courier New" panose="02070309020205020404" pitchFamily="49" charset="0"/>
              </a:rPr>
              <a:t> -Name </a:t>
            </a:r>
            <a:r>
              <a:rPr lang="en-US" sz="3199" b="1" dirty="0" err="1">
                <a:solidFill>
                  <a:srgbClr val="00B050"/>
                </a:solidFill>
                <a:latin typeface="Courier New" panose="02070309020205020404" pitchFamily="49" charset="0"/>
                <a:cs typeface="Courier New" panose="02070309020205020404" pitchFamily="49" charset="0"/>
              </a:rPr>
              <a:t>ADFTutorialResourceGroup</a:t>
            </a:r>
            <a:r>
              <a:rPr lang="en-US" sz="3199" b="1" dirty="0">
                <a:solidFill>
                  <a:srgbClr val="00B050"/>
                </a:solidFill>
                <a:latin typeface="Courier New" panose="02070309020205020404" pitchFamily="49" charset="0"/>
                <a:cs typeface="Courier New" panose="02070309020205020404" pitchFamily="49" charset="0"/>
              </a:rPr>
              <a:t>  -Location "West US"</a:t>
            </a:r>
          </a:p>
          <a:p>
            <a:pPr marL="742807" indent="-742807" defTabSz="932563">
              <a:buFont typeface="+mj-lt"/>
              <a:buAutoNum type="arabicPeriod"/>
              <a:defRPr/>
            </a:pPr>
            <a:r>
              <a:rPr lang="en-US" sz="3199" b="1" dirty="0">
                <a:solidFill>
                  <a:schemeClr val="bg1"/>
                </a:solidFill>
              </a:rPr>
              <a:t>Run </a:t>
            </a:r>
            <a:r>
              <a:rPr lang="en-US" sz="3199" b="1" dirty="0">
                <a:solidFill>
                  <a:srgbClr val="00B050"/>
                </a:solidFill>
                <a:latin typeface="Courier New" panose="02070309020205020404" pitchFamily="49" charset="0"/>
                <a:cs typeface="Courier New" panose="02070309020205020404" pitchFamily="49" charset="0"/>
              </a:rPr>
              <a:t>New-</a:t>
            </a:r>
            <a:r>
              <a:rPr lang="en-US" sz="3199" b="1" dirty="0" err="1">
                <a:solidFill>
                  <a:srgbClr val="00B050"/>
                </a:solidFill>
                <a:latin typeface="Courier New" panose="02070309020205020404" pitchFamily="49" charset="0"/>
                <a:cs typeface="Courier New" panose="02070309020205020404" pitchFamily="49" charset="0"/>
              </a:rPr>
              <a:t>AzureDataFactory</a:t>
            </a:r>
            <a:r>
              <a:rPr lang="en-US" sz="3199" b="1" dirty="0">
                <a:solidFill>
                  <a:srgbClr val="00B050"/>
                </a:solidFill>
                <a:latin typeface="Courier New" panose="02070309020205020404" pitchFamily="49" charset="0"/>
                <a:cs typeface="Courier New" panose="02070309020205020404" pitchFamily="49" charset="0"/>
              </a:rPr>
              <a:t> -</a:t>
            </a:r>
            <a:r>
              <a:rPr lang="en-US" sz="3199" b="1" dirty="0" err="1">
                <a:solidFill>
                  <a:srgbClr val="00B050"/>
                </a:solidFill>
                <a:latin typeface="Courier New" panose="02070309020205020404" pitchFamily="49" charset="0"/>
                <a:cs typeface="Courier New" panose="02070309020205020404" pitchFamily="49" charset="0"/>
              </a:rPr>
              <a:t>ResourceGroupName</a:t>
            </a:r>
            <a:r>
              <a:rPr lang="en-US" sz="3199" b="1" dirty="0">
                <a:solidFill>
                  <a:srgbClr val="00B050"/>
                </a:solidFill>
                <a:latin typeface="Courier New" panose="02070309020205020404" pitchFamily="49" charset="0"/>
                <a:cs typeface="Courier New" panose="02070309020205020404" pitchFamily="49" charset="0"/>
              </a:rPr>
              <a:t> </a:t>
            </a:r>
            <a:r>
              <a:rPr lang="en-US" sz="3199" b="1" dirty="0" err="1">
                <a:solidFill>
                  <a:srgbClr val="00B050"/>
                </a:solidFill>
                <a:latin typeface="Courier New" panose="02070309020205020404" pitchFamily="49" charset="0"/>
                <a:cs typeface="Courier New" panose="02070309020205020404" pitchFamily="49" charset="0"/>
              </a:rPr>
              <a:t>ADFTutorialResourceGroup</a:t>
            </a:r>
            <a:r>
              <a:rPr lang="en-US" sz="3199" b="1" dirty="0">
                <a:solidFill>
                  <a:srgbClr val="00B050"/>
                </a:solidFill>
                <a:latin typeface="Courier New" panose="02070309020205020404" pitchFamily="49" charset="0"/>
                <a:cs typeface="Courier New" panose="02070309020205020404" pitchFamily="49" charset="0"/>
              </a:rPr>
              <a:t> –Name </a:t>
            </a:r>
            <a:r>
              <a:rPr lang="en-US" sz="3199" b="1" dirty="0" err="1">
                <a:solidFill>
                  <a:srgbClr val="00B050"/>
                </a:solidFill>
                <a:latin typeface="Courier New" panose="02070309020205020404" pitchFamily="49" charset="0"/>
                <a:cs typeface="Courier New" panose="02070309020205020404" pitchFamily="49" charset="0"/>
              </a:rPr>
              <a:t>DataFactory</a:t>
            </a:r>
            <a:r>
              <a:rPr lang="en-US" sz="3199" b="1" dirty="0">
                <a:solidFill>
                  <a:srgbClr val="00B050"/>
                </a:solidFill>
                <a:latin typeface="Courier New" panose="02070309020205020404" pitchFamily="49" charset="0"/>
                <a:cs typeface="Courier New" panose="02070309020205020404" pitchFamily="49" charset="0"/>
              </a:rPr>
              <a:t>(your alias)Pipeline –Location "West US"</a:t>
            </a:r>
          </a:p>
        </p:txBody>
      </p:sp>
    </p:spTree>
    <p:extLst>
      <p:ext uri="{BB962C8B-B14F-4D97-AF65-F5344CB8AC3E}">
        <p14:creationId xmlns:p14="http://schemas.microsoft.com/office/powerpoint/2010/main" val="2670374960"/>
      </p:ext>
    </p:extLst>
  </p:cSld>
  <p:clrMapOvr>
    <a:masterClrMapping/>
  </p:clrMapOvr>
  <p:transition spd="slow">
    <p:wipe/>
  </p:transition>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99795" y="82543"/>
            <a:ext cx="5332740" cy="3719477"/>
          </a:xfrm>
          <a:prstGeom prst="rect">
            <a:avLst/>
          </a:prstGeom>
        </p:spPr>
        <p:txBody>
          <a:bodyPr vert="horz" lIns="186521" tIns="46630" rIns="186521" bIns="46630" rtlCol="0" anchor="t">
            <a:noAutofit/>
          </a:bodyPr>
          <a:lstStyle>
            <a:defPPr>
              <a:defRPr lang="en-US"/>
            </a:defPPr>
            <a:lvl1pPr defTabSz="896157">
              <a:spcBef>
                <a:spcPct val="0"/>
              </a:spcBef>
              <a:buNone/>
              <a:defRPr sz="4705">
                <a:solidFill>
                  <a:srgbClr val="00B0F0"/>
                </a:solidFill>
                <a:latin typeface="+mj-lt"/>
                <a:ea typeface="+mj-ea"/>
                <a:cs typeface="+mj-cs"/>
              </a:defRPr>
            </a:lvl1pPr>
          </a:lstStyle>
          <a:p>
            <a:pPr defTabSz="913991"/>
            <a:r>
              <a:rPr lang="en-US" sz="4799" kern="0" dirty="0"/>
              <a:t>Using Visual Studio</a:t>
            </a:r>
          </a:p>
        </p:txBody>
      </p:sp>
      <p:sp>
        <p:nvSpPr>
          <p:cNvPr id="6" name="Title 1"/>
          <p:cNvSpPr txBox="1">
            <a:spLocks/>
          </p:cNvSpPr>
          <p:nvPr/>
        </p:nvSpPr>
        <p:spPr>
          <a:xfrm>
            <a:off x="203498" y="4259154"/>
            <a:ext cx="12025220" cy="2285676"/>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571390" indent="-571390" defTabSz="932563">
              <a:buFont typeface="Arial" panose="020B0604020202020204" pitchFamily="34" charset="0"/>
              <a:buChar char="•"/>
              <a:defRPr/>
            </a:pPr>
            <a:r>
              <a:rPr lang="en-US" sz="4896" b="1" dirty="0">
                <a:solidFill>
                  <a:schemeClr val="bg1"/>
                </a:solidFill>
              </a:rPr>
              <a:t>Use in mature dev en</a:t>
            </a:r>
            <a:r>
              <a:rPr lang="en-US" sz="4896" b="1" dirty="0" err="1">
                <a:solidFill>
                  <a:schemeClr val="bg1"/>
                </a:solidFill>
              </a:rPr>
              <a:t>vironments</a:t>
            </a:r>
            <a:r>
              <a:rPr lang="en-US" sz="4896" b="1" dirty="0">
                <a:solidFill>
                  <a:schemeClr val="bg1"/>
                </a:solidFill>
              </a:rPr>
              <a:t> </a:t>
            </a:r>
          </a:p>
          <a:p>
            <a:pPr marL="571390" indent="-571390" defTabSz="932563">
              <a:buFont typeface="Arial" panose="020B0604020202020204" pitchFamily="34" charset="0"/>
              <a:buChar char="•"/>
              <a:defRPr/>
            </a:pPr>
            <a:r>
              <a:rPr lang="en-US" sz="4896" b="1" dirty="0">
                <a:solidFill>
                  <a:schemeClr val="bg1"/>
                </a:solidFill>
              </a:rPr>
              <a:t>Use when integrated into larger development process</a:t>
            </a:r>
          </a:p>
        </p:txBody>
      </p:sp>
      <p:pic>
        <p:nvPicPr>
          <p:cNvPr id="4" name="Picture 3"/>
          <p:cNvPicPr>
            <a:picLocks noChangeAspect="1"/>
          </p:cNvPicPr>
          <p:nvPr/>
        </p:nvPicPr>
        <p:blipFill>
          <a:blip r:embed="rId3"/>
          <a:stretch>
            <a:fillRect/>
          </a:stretch>
        </p:blipFill>
        <p:spPr>
          <a:xfrm>
            <a:off x="5695656" y="497"/>
            <a:ext cx="6758263" cy="3801522"/>
          </a:xfrm>
          <a:prstGeom prst="rect">
            <a:avLst/>
          </a:prstGeom>
        </p:spPr>
      </p:pic>
    </p:spTree>
    <p:extLst>
      <p:ext uri="{BB962C8B-B14F-4D97-AF65-F5344CB8AC3E}">
        <p14:creationId xmlns:p14="http://schemas.microsoft.com/office/powerpoint/2010/main" val="2628156800"/>
      </p:ext>
    </p:extLst>
  </p:cSld>
  <p:clrMapOvr>
    <a:masterClrMapping/>
  </p:clrMapOvr>
  <p:transition spd="slow">
    <p:wip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lvl="0" defTabSz="932293" fontAlgn="base">
              <a:lnSpc>
                <a:spcPct val="90000"/>
              </a:lnSpc>
              <a:spcBef>
                <a:spcPct val="0"/>
              </a:spcBef>
              <a:spcAft>
                <a:spcPct val="0"/>
              </a:spcAft>
            </a:pPr>
            <a:r>
              <a:rPr lang="en-US" sz="3200" kern="0" dirty="0">
                <a:solidFill>
                  <a:srgbClr val="FFFF00"/>
                </a:solidFill>
                <a:ea typeface="Segoe UI" pitchFamily="34" charset="0"/>
                <a:cs typeface="Segoe UI" pitchFamily="34" charset="0"/>
              </a:rPr>
              <a:t>Create the ADF, Load your Source Data</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2632764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87325"/>
            <a:ext cx="7310438" cy="995363"/>
          </a:xfrm>
        </p:spPr>
        <p:txBody>
          <a:bodyPr vert="horz" lIns="186521" tIns="46630" rIns="186521" bIns="46630" rtlCol="0" anchor="t">
            <a:noAutofit/>
          </a:bodyPr>
          <a:lstStyle/>
          <a:p>
            <a:r>
              <a:rPr lang="en-US" dirty="0">
                <a:solidFill>
                  <a:schemeClr val="bg1"/>
                </a:solidFill>
              </a:rPr>
              <a:t>3. Create Linked Services</a:t>
            </a:r>
          </a:p>
        </p:txBody>
      </p:sp>
      <p:sp>
        <p:nvSpPr>
          <p:cNvPr id="3" name="Title 1"/>
          <p:cNvSpPr txBox="1">
            <a:spLocks/>
          </p:cNvSpPr>
          <p:nvPr/>
        </p:nvSpPr>
        <p:spPr>
          <a:xfrm>
            <a:off x="874644" y="1978060"/>
            <a:ext cx="10595113" cy="4194140"/>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6000" i="1" dirty="0">
                <a:solidFill>
                  <a:schemeClr val="bg1"/>
                </a:solidFill>
              </a:rPr>
              <a:t>A Connection</a:t>
            </a:r>
            <a:r>
              <a:rPr lang="en-US" sz="6000" dirty="0">
                <a:solidFill>
                  <a:schemeClr val="bg1"/>
                </a:solidFill>
              </a:rPr>
              <a:t> to Data or </a:t>
            </a:r>
            <a:r>
              <a:rPr lang="en-US" sz="6000" i="1" dirty="0">
                <a:solidFill>
                  <a:schemeClr val="bg1"/>
                </a:solidFill>
              </a:rPr>
              <a:t>Connection </a:t>
            </a:r>
            <a:r>
              <a:rPr lang="en-US" sz="6000" dirty="0">
                <a:solidFill>
                  <a:schemeClr val="bg1"/>
                </a:solidFill>
              </a:rPr>
              <a:t>to Compute Resource – Also termed “Data Store”</a:t>
            </a:r>
          </a:p>
        </p:txBody>
      </p:sp>
    </p:spTree>
    <p:extLst>
      <p:ext uri="{BB962C8B-B14F-4D97-AF65-F5344CB8AC3E}">
        <p14:creationId xmlns:p14="http://schemas.microsoft.com/office/powerpoint/2010/main" val="9151130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99795" y="82542"/>
            <a:ext cx="11884506" cy="762581"/>
          </a:xfrm>
          <a:prstGeom prst="rect">
            <a:avLst/>
          </a:prstGeom>
        </p:spPr>
        <p:txBody>
          <a:bodyPr vert="horz" lIns="186521" tIns="46630" rIns="186521" bIns="46630" rtlCol="0" anchor="t">
            <a:noAutofit/>
          </a:bodyPr>
          <a:lstStyle>
            <a:defPPr>
              <a:defRPr lang="en-US"/>
            </a:defPPr>
            <a:lvl1pPr defTabSz="896157">
              <a:spcBef>
                <a:spcPct val="0"/>
              </a:spcBef>
              <a:buNone/>
              <a:defRPr sz="4705">
                <a:solidFill>
                  <a:srgbClr val="00B0F0"/>
                </a:solidFill>
                <a:latin typeface="+mj-lt"/>
                <a:ea typeface="+mj-ea"/>
                <a:cs typeface="+mj-cs"/>
              </a:defRPr>
            </a:lvl1pPr>
          </a:lstStyle>
          <a:p>
            <a:pPr defTabSz="913991"/>
            <a:r>
              <a:rPr lang="en-US" sz="4799" kern="0" dirty="0"/>
              <a:t>Data Options</a:t>
            </a:r>
          </a:p>
        </p:txBody>
      </p:sp>
      <p:pic>
        <p:nvPicPr>
          <p:cNvPr id="3" name="Picture 2"/>
          <p:cNvPicPr>
            <a:picLocks noChangeAspect="1"/>
          </p:cNvPicPr>
          <p:nvPr/>
        </p:nvPicPr>
        <p:blipFill>
          <a:blip r:embed="rId3">
            <a:duotone>
              <a:prstClr val="black"/>
              <a:schemeClr val="accent1">
                <a:tint val="45000"/>
                <a:satMod val="400000"/>
              </a:schemeClr>
            </a:duotone>
          </a:blip>
          <a:stretch>
            <a:fillRect/>
          </a:stretch>
        </p:blipFill>
        <p:spPr>
          <a:xfrm>
            <a:off x="247977" y="852912"/>
            <a:ext cx="331635" cy="230527"/>
          </a:xfrm>
          <a:prstGeom prst="rect">
            <a:avLst/>
          </a:prstGeom>
        </p:spPr>
      </p:pic>
      <p:pic>
        <p:nvPicPr>
          <p:cNvPr id="4" name="Picture 3"/>
          <p:cNvPicPr>
            <a:picLocks noChangeAspect="1"/>
          </p:cNvPicPr>
          <p:nvPr/>
        </p:nvPicPr>
        <p:blipFill>
          <a:blip r:embed="rId4">
            <a:duotone>
              <a:prstClr val="black"/>
              <a:schemeClr val="accent1">
                <a:tint val="45000"/>
                <a:satMod val="400000"/>
              </a:schemeClr>
            </a:duotone>
          </a:blip>
          <a:stretch>
            <a:fillRect/>
          </a:stretch>
        </p:blipFill>
        <p:spPr>
          <a:xfrm>
            <a:off x="3018292" y="815221"/>
            <a:ext cx="491635" cy="305907"/>
          </a:xfrm>
          <a:prstGeom prst="rect">
            <a:avLst/>
          </a:prstGeom>
        </p:spPr>
      </p:pic>
      <p:graphicFrame>
        <p:nvGraphicFramePr>
          <p:cNvPr id="9" name="Table 8"/>
          <p:cNvGraphicFramePr>
            <a:graphicFrameLocks noGrp="1"/>
          </p:cNvGraphicFramePr>
          <p:nvPr>
            <p:extLst/>
          </p:nvPr>
        </p:nvGraphicFramePr>
        <p:xfrm>
          <a:off x="199795" y="1211586"/>
          <a:ext cx="12123176" cy="5448842"/>
        </p:xfrm>
        <a:graphic>
          <a:graphicData uri="http://schemas.openxmlformats.org/drawingml/2006/table">
            <a:tbl>
              <a:tblPr>
                <a:tableStyleId>{3C2FFA5D-87B4-456A-9821-1D502468CF0F}</a:tableStyleId>
              </a:tblPr>
              <a:tblGrid>
                <a:gridCol w="2755253">
                  <a:extLst>
                    <a:ext uri="{9D8B030D-6E8A-4147-A177-3AD203B41FA5}">
                      <a16:colId xmlns:a16="http://schemas.microsoft.com/office/drawing/2014/main" val="3574659874"/>
                    </a:ext>
                  </a:extLst>
                </a:gridCol>
                <a:gridCol w="9367923">
                  <a:extLst>
                    <a:ext uri="{9D8B030D-6E8A-4147-A177-3AD203B41FA5}">
                      <a16:colId xmlns:a16="http://schemas.microsoft.com/office/drawing/2014/main" val="1905114080"/>
                    </a:ext>
                  </a:extLst>
                </a:gridCol>
              </a:tblGrid>
              <a:tr h="246475">
                <a:tc>
                  <a:txBody>
                    <a:bodyPr/>
                    <a:lstStyle/>
                    <a:p>
                      <a:r>
                        <a:rPr lang="en-US" sz="1500" b="1" dirty="0"/>
                        <a:t>Source</a:t>
                      </a:r>
                      <a:endParaRPr lang="en-US" sz="1500" b="1" dirty="0">
                        <a:solidFill>
                          <a:srgbClr val="000000"/>
                        </a:solidFill>
                      </a:endParaRPr>
                    </a:p>
                  </a:txBody>
                  <a:tcPr marL="13325" marR="13325" marT="6662" marB="6662" anchor="ctr"/>
                </a:tc>
                <a:tc>
                  <a:txBody>
                    <a:bodyPr/>
                    <a:lstStyle/>
                    <a:p>
                      <a:r>
                        <a:rPr lang="en-US" sz="1500" b="1" dirty="0"/>
                        <a:t>Sink</a:t>
                      </a:r>
                      <a:endParaRPr lang="en-US" sz="1500" b="1" dirty="0">
                        <a:solidFill>
                          <a:srgbClr val="000000"/>
                        </a:solidFill>
                      </a:endParaRPr>
                    </a:p>
                  </a:txBody>
                  <a:tcPr marL="13325" marR="13325" marT="6662" marB="6662" anchor="ctr"/>
                </a:tc>
                <a:extLst>
                  <a:ext uri="{0D108BD9-81ED-4DB2-BD59-A6C34878D82A}">
                    <a16:rowId xmlns:a16="http://schemas.microsoft.com/office/drawing/2014/main" val="1623889821"/>
                  </a:ext>
                </a:extLst>
              </a:tr>
              <a:tr h="479626">
                <a:tc>
                  <a:txBody>
                    <a:bodyPr/>
                    <a:lstStyle/>
                    <a:p>
                      <a:r>
                        <a:rPr lang="en-US" sz="1500" dirty="0"/>
                        <a:t> Blob</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a:t>
                      </a:r>
                      <a:r>
                        <a:rPr lang="en-US" sz="1500" dirty="0" err="1"/>
                        <a:t>DocumentDB</a:t>
                      </a:r>
                      <a:r>
                        <a:rPr lang="en-US" sz="1500" dirty="0"/>
                        <a:t>, </a:t>
                      </a:r>
                      <a:r>
                        <a:rPr lang="en-US" sz="1500" dirty="0" err="1"/>
                        <a:t>OnPrem</a:t>
                      </a:r>
                      <a:r>
                        <a:rPr lang="en-US" sz="1500" dirty="0"/>
                        <a:t> File System,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1967277091"/>
                  </a:ext>
                </a:extLst>
              </a:tr>
              <a:tr h="479626">
                <a:tc>
                  <a:txBody>
                    <a:bodyPr/>
                    <a:lstStyle/>
                    <a:p>
                      <a:r>
                        <a:rPr lang="en-US" sz="1500" dirty="0"/>
                        <a:t> Tabl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a:t>
                      </a:r>
                      <a:r>
                        <a:rPr lang="en-US" sz="1500" dirty="0" err="1"/>
                        <a:t>DocumentDB</a:t>
                      </a:r>
                      <a:r>
                        <a:rPr lang="en-US" sz="1500" dirty="0"/>
                        <a:t>,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786144791"/>
                  </a:ext>
                </a:extLst>
              </a:tr>
              <a:tr h="479626">
                <a:tc>
                  <a:txBody>
                    <a:bodyPr/>
                    <a:lstStyle/>
                    <a:p>
                      <a:r>
                        <a:rPr lang="en-US" sz="1500" dirty="0"/>
                        <a:t> SQL Databas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a:t>
                      </a:r>
                      <a:r>
                        <a:rPr lang="en-US" sz="1500" dirty="0" err="1"/>
                        <a:t>DocumentDB</a:t>
                      </a:r>
                      <a:r>
                        <a:rPr lang="en-US" sz="1500" dirty="0"/>
                        <a:t>,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896722728"/>
                  </a:ext>
                </a:extLst>
              </a:tr>
              <a:tr h="479626">
                <a:tc>
                  <a:txBody>
                    <a:bodyPr/>
                    <a:lstStyle/>
                    <a:p>
                      <a:r>
                        <a:rPr lang="en-US" sz="1500" dirty="0"/>
                        <a:t> SQL Data Warehous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a:t>
                      </a:r>
                      <a:r>
                        <a:rPr lang="en-US" sz="1500" dirty="0" err="1"/>
                        <a:t>DocumentDB</a:t>
                      </a:r>
                      <a:r>
                        <a:rPr lang="en-US" sz="1500" dirty="0"/>
                        <a:t>,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3370360485"/>
                  </a:ext>
                </a:extLst>
              </a:tr>
              <a:tr h="246475">
                <a:tc>
                  <a:txBody>
                    <a:bodyPr/>
                    <a:lstStyle/>
                    <a:p>
                      <a:r>
                        <a:rPr lang="en-US" sz="1500" dirty="0"/>
                        <a:t> </a:t>
                      </a:r>
                      <a:r>
                        <a:rPr lang="en-US" sz="1500" dirty="0" err="1"/>
                        <a:t>DocumentDB</a:t>
                      </a:r>
                      <a:endParaRPr lang="en-US" sz="1500" dirty="0">
                        <a:solidFill>
                          <a:srgbClr val="000000"/>
                        </a:solidFill>
                      </a:endParaRPr>
                    </a:p>
                  </a:txBody>
                  <a:tcPr marL="13325" marR="13325" marT="6662" marB="6662" anchor="ctr"/>
                </a:tc>
                <a:tc>
                  <a:txBody>
                    <a:bodyPr/>
                    <a:lstStyle/>
                    <a:p>
                      <a:r>
                        <a:rPr lang="en-US" sz="1500" dirty="0"/>
                        <a:t> Blob,  Table,  SQL Database,  SQL Data Warehouse,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367664047"/>
                  </a:ext>
                </a:extLst>
              </a:tr>
              <a:tr h="479626">
                <a:tc>
                  <a:txBody>
                    <a:bodyPr/>
                    <a:lstStyle/>
                    <a:p>
                      <a:r>
                        <a:rPr lang="en-US" sz="1500" dirty="0"/>
                        <a:t> Data Lake Stor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a:t>
                      </a:r>
                      <a:r>
                        <a:rPr lang="en-US" sz="1500" dirty="0" err="1"/>
                        <a:t>DocumentDB</a:t>
                      </a:r>
                      <a:r>
                        <a:rPr lang="en-US" sz="1500" dirty="0"/>
                        <a:t>, </a:t>
                      </a:r>
                      <a:r>
                        <a:rPr lang="en-US" sz="1500" dirty="0" err="1"/>
                        <a:t>OnPrem</a:t>
                      </a:r>
                      <a:r>
                        <a:rPr lang="en-US" sz="1500" dirty="0"/>
                        <a:t> File System,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3478473822"/>
                  </a:ext>
                </a:extLst>
              </a:tr>
              <a:tr h="259767">
                <a:tc>
                  <a:txBody>
                    <a:bodyPr/>
                    <a:lstStyle/>
                    <a:p>
                      <a:r>
                        <a:rPr lang="en-US" sz="1500" dirty="0"/>
                        <a:t>SQL Server on IaaS</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1747439040"/>
                  </a:ext>
                </a:extLst>
              </a:tr>
              <a:tr h="479626">
                <a:tc>
                  <a:txBody>
                    <a:bodyPr/>
                    <a:lstStyle/>
                    <a:p>
                      <a:r>
                        <a:rPr lang="en-US" sz="1500" dirty="0" err="1"/>
                        <a:t>OnPrem</a:t>
                      </a:r>
                      <a:r>
                        <a:rPr lang="en-US" sz="1500" dirty="0"/>
                        <a:t> File System</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a:t>
                      </a:r>
                      <a:r>
                        <a:rPr lang="en-US" sz="1500" dirty="0" err="1"/>
                        <a:t>OnPrem</a:t>
                      </a:r>
                      <a:r>
                        <a:rPr lang="en-US" sz="1500" dirty="0"/>
                        <a:t> File System,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2410722271"/>
                  </a:ext>
                </a:extLst>
              </a:tr>
              <a:tr h="259767">
                <a:tc>
                  <a:txBody>
                    <a:bodyPr/>
                    <a:lstStyle/>
                    <a:p>
                      <a:r>
                        <a:rPr lang="en-US" sz="1500" dirty="0" err="1"/>
                        <a:t>OnPrem</a:t>
                      </a:r>
                      <a:r>
                        <a:rPr lang="en-US" sz="1500" dirty="0"/>
                        <a:t> SQL Server</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435880020"/>
                  </a:ext>
                </a:extLst>
              </a:tr>
              <a:tr h="259767">
                <a:tc>
                  <a:txBody>
                    <a:bodyPr/>
                    <a:lstStyle/>
                    <a:p>
                      <a:r>
                        <a:rPr lang="en-US" sz="1500" dirty="0" err="1"/>
                        <a:t>OnPrem</a:t>
                      </a:r>
                      <a:r>
                        <a:rPr lang="en-US" sz="1500" dirty="0"/>
                        <a:t> Oracle Databas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1713423686"/>
                  </a:ext>
                </a:extLst>
              </a:tr>
              <a:tr h="259767">
                <a:tc>
                  <a:txBody>
                    <a:bodyPr/>
                    <a:lstStyle/>
                    <a:p>
                      <a:r>
                        <a:rPr lang="en-US" sz="1500" dirty="0" err="1"/>
                        <a:t>OnPrem</a:t>
                      </a:r>
                      <a:r>
                        <a:rPr lang="en-US" sz="1500" dirty="0"/>
                        <a:t> MySQL Databas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3351972753"/>
                  </a:ext>
                </a:extLst>
              </a:tr>
              <a:tr h="259767">
                <a:tc>
                  <a:txBody>
                    <a:bodyPr/>
                    <a:lstStyle/>
                    <a:p>
                      <a:r>
                        <a:rPr lang="en-US" sz="1500" dirty="0" err="1"/>
                        <a:t>OnPrem</a:t>
                      </a:r>
                      <a:r>
                        <a:rPr lang="en-US" sz="1500" dirty="0"/>
                        <a:t> DB2 Databas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3459064860"/>
                  </a:ext>
                </a:extLst>
              </a:tr>
              <a:tr h="259767">
                <a:tc>
                  <a:txBody>
                    <a:bodyPr/>
                    <a:lstStyle/>
                    <a:p>
                      <a:r>
                        <a:rPr lang="en-US" sz="1500" dirty="0" err="1"/>
                        <a:t>OnPrem</a:t>
                      </a:r>
                      <a:r>
                        <a:rPr lang="en-US" sz="1500" dirty="0"/>
                        <a:t> Teradata Databas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3494564059"/>
                  </a:ext>
                </a:extLst>
              </a:tr>
              <a:tr h="259767">
                <a:tc>
                  <a:txBody>
                    <a:bodyPr/>
                    <a:lstStyle/>
                    <a:p>
                      <a:r>
                        <a:rPr lang="en-US" sz="1500" dirty="0" err="1"/>
                        <a:t>OnPrem</a:t>
                      </a:r>
                      <a:r>
                        <a:rPr lang="en-US" sz="1500" dirty="0"/>
                        <a:t> Sybase Databas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894150089"/>
                  </a:ext>
                </a:extLst>
              </a:tr>
              <a:tr h="259767">
                <a:tc>
                  <a:txBody>
                    <a:bodyPr/>
                    <a:lstStyle/>
                    <a:p>
                      <a:r>
                        <a:rPr lang="en-US" sz="1500" dirty="0" err="1"/>
                        <a:t>OnPrem</a:t>
                      </a:r>
                      <a:r>
                        <a:rPr lang="en-US" sz="1500" dirty="0"/>
                        <a:t> PostgreSQL Databas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2992693200"/>
                  </a:ext>
                </a:extLst>
              </a:tr>
            </a:tbl>
          </a:graphicData>
        </a:graphic>
      </p:graphicFrame>
    </p:spTree>
    <p:extLst>
      <p:ext uri="{BB962C8B-B14F-4D97-AF65-F5344CB8AC3E}">
        <p14:creationId xmlns:p14="http://schemas.microsoft.com/office/powerpoint/2010/main" val="2220298447"/>
      </p:ext>
    </p:extLst>
  </p:cSld>
  <p:clrMapOvr>
    <a:masterClrMapping/>
  </p:clrMapOvr>
  <p:transition spd="slow">
    <p:wipe/>
  </p:transition>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99795" y="82542"/>
            <a:ext cx="11884506" cy="1129044"/>
          </a:xfrm>
          <a:prstGeom prst="rect">
            <a:avLst/>
          </a:prstGeom>
        </p:spPr>
        <p:txBody>
          <a:bodyPr vert="horz" lIns="186521" tIns="46630" rIns="186521" bIns="46630" rtlCol="0" anchor="t">
            <a:noAutofit/>
          </a:bodyPr>
          <a:lstStyle>
            <a:defPPr>
              <a:defRPr lang="en-US"/>
            </a:defPPr>
            <a:lvl1pPr defTabSz="896157">
              <a:spcBef>
                <a:spcPct val="0"/>
              </a:spcBef>
              <a:buNone/>
              <a:defRPr sz="4705">
                <a:solidFill>
                  <a:srgbClr val="00B0F0"/>
                </a:solidFill>
                <a:latin typeface="+mj-lt"/>
                <a:ea typeface="+mj-ea"/>
                <a:cs typeface="+mj-cs"/>
              </a:defRPr>
            </a:lvl1pPr>
          </a:lstStyle>
          <a:p>
            <a:pPr defTabSz="913991"/>
            <a:r>
              <a:rPr lang="en-US" sz="4799" kern="0" dirty="0"/>
              <a:t>Activity Options</a:t>
            </a:r>
          </a:p>
        </p:txBody>
      </p:sp>
      <p:graphicFrame>
        <p:nvGraphicFramePr>
          <p:cNvPr id="4" name="Table 3"/>
          <p:cNvGraphicFramePr>
            <a:graphicFrameLocks noGrp="1"/>
          </p:cNvGraphicFramePr>
          <p:nvPr>
            <p:extLst/>
          </p:nvPr>
        </p:nvGraphicFramePr>
        <p:xfrm>
          <a:off x="351166" y="1363965"/>
          <a:ext cx="11733135" cy="4749996"/>
        </p:xfrm>
        <a:graphic>
          <a:graphicData uri="http://schemas.openxmlformats.org/drawingml/2006/table">
            <a:tbl>
              <a:tblPr firstRow="1" firstCol="1">
                <a:tableStyleId>{ED083AE6-46FA-4A59-8FB0-9F97EB10719F}</a:tableStyleId>
              </a:tblPr>
              <a:tblGrid>
                <a:gridCol w="6079421">
                  <a:extLst>
                    <a:ext uri="{9D8B030D-6E8A-4147-A177-3AD203B41FA5}">
                      <a16:colId xmlns:a16="http://schemas.microsoft.com/office/drawing/2014/main" val="956320187"/>
                    </a:ext>
                  </a:extLst>
                </a:gridCol>
                <a:gridCol w="5653714">
                  <a:extLst>
                    <a:ext uri="{9D8B030D-6E8A-4147-A177-3AD203B41FA5}">
                      <a16:colId xmlns:a16="http://schemas.microsoft.com/office/drawing/2014/main" val="4203696472"/>
                    </a:ext>
                  </a:extLst>
                </a:gridCol>
              </a:tblGrid>
              <a:tr h="480302">
                <a:tc>
                  <a:txBody>
                    <a:bodyPr/>
                    <a:lstStyle/>
                    <a:p>
                      <a:pPr algn="l"/>
                      <a:r>
                        <a:rPr lang="en-US" sz="2800" dirty="0">
                          <a:solidFill>
                            <a:schemeClr val="bg2"/>
                          </a:solidFill>
                        </a:rPr>
                        <a:t>Transformation activity</a:t>
                      </a:r>
                    </a:p>
                  </a:txBody>
                  <a:tcPr marL="53641" marR="53641" marT="26822" marB="26822" anchor="ctr"/>
                </a:tc>
                <a:tc>
                  <a:txBody>
                    <a:bodyPr/>
                    <a:lstStyle/>
                    <a:p>
                      <a:pPr algn="l"/>
                      <a:r>
                        <a:rPr lang="en-US" sz="2800" dirty="0">
                          <a:solidFill>
                            <a:schemeClr val="bg2"/>
                          </a:solidFill>
                        </a:rPr>
                        <a:t>Compute environment</a:t>
                      </a:r>
                    </a:p>
                  </a:txBody>
                  <a:tcPr marL="53641" marR="53641" marT="26822" marB="26822" anchor="ctr"/>
                </a:tc>
                <a:extLst>
                  <a:ext uri="{0D108BD9-81ED-4DB2-BD59-A6C34878D82A}">
                    <a16:rowId xmlns:a16="http://schemas.microsoft.com/office/drawing/2014/main" val="3464614898"/>
                  </a:ext>
                </a:extLst>
              </a:tr>
              <a:tr h="480302">
                <a:tc>
                  <a:txBody>
                    <a:bodyPr/>
                    <a:lstStyle/>
                    <a:p>
                      <a:pPr algn="l"/>
                      <a:r>
                        <a:rPr lang="en-US" sz="2800" dirty="0">
                          <a:solidFill>
                            <a:schemeClr val="accent4">
                              <a:lumMod val="75000"/>
                            </a:schemeClr>
                          </a:solidFill>
                        </a:rPr>
                        <a:t>Hive</a:t>
                      </a:r>
                    </a:p>
                  </a:txBody>
                  <a:tcPr marL="53641" marR="53641" marT="26822" marB="26822" anchor="ctr"/>
                </a:tc>
                <a:tc>
                  <a:txBody>
                    <a:bodyPr/>
                    <a:lstStyle/>
                    <a:p>
                      <a:pPr algn="l"/>
                      <a:r>
                        <a:rPr lang="en-US" sz="2800" dirty="0">
                          <a:solidFill>
                            <a:schemeClr val="bg2"/>
                          </a:solidFill>
                        </a:rPr>
                        <a:t>HDInsight [Hadoop]</a:t>
                      </a:r>
                    </a:p>
                  </a:txBody>
                  <a:tcPr marL="53641" marR="53641" marT="26822" marB="26822" anchor="ctr"/>
                </a:tc>
                <a:extLst>
                  <a:ext uri="{0D108BD9-81ED-4DB2-BD59-A6C34878D82A}">
                    <a16:rowId xmlns:a16="http://schemas.microsoft.com/office/drawing/2014/main" val="2934412833"/>
                  </a:ext>
                </a:extLst>
              </a:tr>
              <a:tr h="480302">
                <a:tc>
                  <a:txBody>
                    <a:bodyPr/>
                    <a:lstStyle/>
                    <a:p>
                      <a:pPr algn="l"/>
                      <a:r>
                        <a:rPr lang="en-US" sz="2800" dirty="0">
                          <a:solidFill>
                            <a:schemeClr val="accent4">
                              <a:lumMod val="75000"/>
                            </a:schemeClr>
                          </a:solidFill>
                        </a:rPr>
                        <a:t>Pig</a:t>
                      </a:r>
                    </a:p>
                  </a:txBody>
                  <a:tcPr marL="53641" marR="53641" marT="26822" marB="26822" anchor="ctr"/>
                </a:tc>
                <a:tc>
                  <a:txBody>
                    <a:bodyPr/>
                    <a:lstStyle/>
                    <a:p>
                      <a:pPr algn="l"/>
                      <a:r>
                        <a:rPr lang="en-US" sz="2800">
                          <a:solidFill>
                            <a:schemeClr val="bg2"/>
                          </a:solidFill>
                        </a:rPr>
                        <a:t>HDInsight [Hadoop]</a:t>
                      </a:r>
                    </a:p>
                  </a:txBody>
                  <a:tcPr marL="53641" marR="53641" marT="26822" marB="26822" anchor="ctr"/>
                </a:tc>
                <a:extLst>
                  <a:ext uri="{0D108BD9-81ED-4DB2-BD59-A6C34878D82A}">
                    <a16:rowId xmlns:a16="http://schemas.microsoft.com/office/drawing/2014/main" val="1932753488"/>
                  </a:ext>
                </a:extLst>
              </a:tr>
              <a:tr h="480302">
                <a:tc>
                  <a:txBody>
                    <a:bodyPr/>
                    <a:lstStyle/>
                    <a:p>
                      <a:pPr algn="l"/>
                      <a:r>
                        <a:rPr lang="en-US" sz="2800" dirty="0">
                          <a:solidFill>
                            <a:schemeClr val="accent4">
                              <a:lumMod val="75000"/>
                            </a:schemeClr>
                          </a:solidFill>
                        </a:rPr>
                        <a:t>MapReduce</a:t>
                      </a:r>
                    </a:p>
                  </a:txBody>
                  <a:tcPr marL="53641" marR="53641" marT="26822" marB="26822" anchor="ctr"/>
                </a:tc>
                <a:tc>
                  <a:txBody>
                    <a:bodyPr/>
                    <a:lstStyle/>
                    <a:p>
                      <a:pPr algn="l"/>
                      <a:r>
                        <a:rPr lang="en-US" sz="2800">
                          <a:solidFill>
                            <a:schemeClr val="bg2"/>
                          </a:solidFill>
                        </a:rPr>
                        <a:t>HDInsight [Hadoop]</a:t>
                      </a:r>
                    </a:p>
                  </a:txBody>
                  <a:tcPr marL="53641" marR="53641" marT="26822" marB="26822" anchor="ctr"/>
                </a:tc>
                <a:extLst>
                  <a:ext uri="{0D108BD9-81ED-4DB2-BD59-A6C34878D82A}">
                    <a16:rowId xmlns:a16="http://schemas.microsoft.com/office/drawing/2014/main" val="414174395"/>
                  </a:ext>
                </a:extLst>
              </a:tr>
              <a:tr h="480302">
                <a:tc>
                  <a:txBody>
                    <a:bodyPr/>
                    <a:lstStyle/>
                    <a:p>
                      <a:pPr algn="l"/>
                      <a:r>
                        <a:rPr lang="en-US" sz="2800" dirty="0">
                          <a:solidFill>
                            <a:schemeClr val="accent4">
                              <a:lumMod val="75000"/>
                            </a:schemeClr>
                          </a:solidFill>
                        </a:rPr>
                        <a:t>Hadoop Streaming</a:t>
                      </a:r>
                    </a:p>
                  </a:txBody>
                  <a:tcPr marL="53641" marR="53641" marT="26822" marB="26822" anchor="ctr"/>
                </a:tc>
                <a:tc>
                  <a:txBody>
                    <a:bodyPr/>
                    <a:lstStyle/>
                    <a:p>
                      <a:pPr algn="l"/>
                      <a:r>
                        <a:rPr lang="en-US" sz="2800">
                          <a:solidFill>
                            <a:schemeClr val="bg2"/>
                          </a:solidFill>
                        </a:rPr>
                        <a:t>HDInsight [Hadoop]</a:t>
                      </a:r>
                    </a:p>
                  </a:txBody>
                  <a:tcPr marL="53641" marR="53641" marT="26822" marB="26822" anchor="ctr"/>
                </a:tc>
                <a:extLst>
                  <a:ext uri="{0D108BD9-81ED-4DB2-BD59-A6C34878D82A}">
                    <a16:rowId xmlns:a16="http://schemas.microsoft.com/office/drawing/2014/main" val="3159801222"/>
                  </a:ext>
                </a:extLst>
              </a:tr>
              <a:tr h="906962">
                <a:tc>
                  <a:txBody>
                    <a:bodyPr/>
                    <a:lstStyle/>
                    <a:p>
                      <a:pPr algn="l"/>
                      <a:r>
                        <a:rPr lang="en-US" sz="2800" dirty="0">
                          <a:solidFill>
                            <a:schemeClr val="accent4">
                              <a:lumMod val="75000"/>
                            </a:schemeClr>
                          </a:solidFill>
                        </a:rPr>
                        <a:t>Machine Learning activities: Batch Execution and Update Resource</a:t>
                      </a:r>
                    </a:p>
                  </a:txBody>
                  <a:tcPr marL="53641" marR="53641" marT="26822" marB="26822" anchor="ctr"/>
                </a:tc>
                <a:tc>
                  <a:txBody>
                    <a:bodyPr/>
                    <a:lstStyle/>
                    <a:p>
                      <a:pPr algn="l"/>
                      <a:r>
                        <a:rPr lang="en-US" sz="2800" dirty="0">
                          <a:solidFill>
                            <a:schemeClr val="bg2"/>
                          </a:solidFill>
                        </a:rPr>
                        <a:t>Azure VM</a:t>
                      </a:r>
                    </a:p>
                  </a:txBody>
                  <a:tcPr marL="53641" marR="53641" marT="26822" marB="26822" anchor="ctr"/>
                </a:tc>
                <a:extLst>
                  <a:ext uri="{0D108BD9-81ED-4DB2-BD59-A6C34878D82A}">
                    <a16:rowId xmlns:a16="http://schemas.microsoft.com/office/drawing/2014/main" val="80762818"/>
                  </a:ext>
                </a:extLst>
              </a:tr>
              <a:tr h="480302">
                <a:tc>
                  <a:txBody>
                    <a:bodyPr/>
                    <a:lstStyle/>
                    <a:p>
                      <a:pPr algn="l"/>
                      <a:r>
                        <a:rPr lang="en-US" sz="2800" dirty="0">
                          <a:solidFill>
                            <a:schemeClr val="accent4">
                              <a:lumMod val="75000"/>
                            </a:schemeClr>
                          </a:solidFill>
                        </a:rPr>
                        <a:t>Stored Procedure</a:t>
                      </a:r>
                    </a:p>
                  </a:txBody>
                  <a:tcPr marL="53641" marR="53641" marT="26822" marB="26822" anchor="ctr"/>
                </a:tc>
                <a:tc>
                  <a:txBody>
                    <a:bodyPr/>
                    <a:lstStyle/>
                    <a:p>
                      <a:pPr algn="l"/>
                      <a:r>
                        <a:rPr lang="en-US" sz="2800">
                          <a:solidFill>
                            <a:schemeClr val="bg2"/>
                          </a:solidFill>
                        </a:rPr>
                        <a:t>Azure SQL</a:t>
                      </a:r>
                    </a:p>
                  </a:txBody>
                  <a:tcPr marL="53641" marR="53641" marT="26822" marB="26822" anchor="ctr"/>
                </a:tc>
                <a:extLst>
                  <a:ext uri="{0D108BD9-81ED-4DB2-BD59-A6C34878D82A}">
                    <a16:rowId xmlns:a16="http://schemas.microsoft.com/office/drawing/2014/main" val="971551458"/>
                  </a:ext>
                </a:extLst>
              </a:tr>
              <a:tr h="480302">
                <a:tc>
                  <a:txBody>
                    <a:bodyPr/>
                    <a:lstStyle/>
                    <a:p>
                      <a:pPr algn="l"/>
                      <a:r>
                        <a:rPr lang="en-US" sz="2800" dirty="0">
                          <a:solidFill>
                            <a:schemeClr val="accent4">
                              <a:lumMod val="75000"/>
                            </a:schemeClr>
                          </a:solidFill>
                        </a:rPr>
                        <a:t>Data Lake Analytics U-SQL</a:t>
                      </a:r>
                    </a:p>
                  </a:txBody>
                  <a:tcPr marL="53641" marR="53641" marT="26822" marB="26822" anchor="ctr"/>
                </a:tc>
                <a:tc>
                  <a:txBody>
                    <a:bodyPr/>
                    <a:lstStyle/>
                    <a:p>
                      <a:pPr algn="l"/>
                      <a:r>
                        <a:rPr lang="en-US" sz="2800">
                          <a:solidFill>
                            <a:schemeClr val="bg2"/>
                          </a:solidFill>
                        </a:rPr>
                        <a:t>Azure Data Lake Analytics</a:t>
                      </a:r>
                    </a:p>
                  </a:txBody>
                  <a:tcPr marL="53641" marR="53641" marT="26822" marB="26822" anchor="ctr"/>
                </a:tc>
                <a:extLst>
                  <a:ext uri="{0D108BD9-81ED-4DB2-BD59-A6C34878D82A}">
                    <a16:rowId xmlns:a16="http://schemas.microsoft.com/office/drawing/2014/main" val="1912210201"/>
                  </a:ext>
                </a:extLst>
              </a:tr>
              <a:tr h="480302">
                <a:tc>
                  <a:txBody>
                    <a:bodyPr/>
                    <a:lstStyle/>
                    <a:p>
                      <a:pPr algn="l"/>
                      <a:r>
                        <a:rPr lang="en-US" sz="2800" dirty="0" err="1">
                          <a:solidFill>
                            <a:schemeClr val="accent4">
                              <a:lumMod val="75000"/>
                            </a:schemeClr>
                          </a:solidFill>
                        </a:rPr>
                        <a:t>DotNet</a:t>
                      </a:r>
                      <a:endParaRPr lang="en-US" sz="2800" dirty="0">
                        <a:solidFill>
                          <a:schemeClr val="accent4">
                            <a:lumMod val="75000"/>
                          </a:schemeClr>
                        </a:solidFill>
                      </a:endParaRPr>
                    </a:p>
                  </a:txBody>
                  <a:tcPr marL="53641" marR="53641" marT="26822" marB="26822" anchor="ctr"/>
                </a:tc>
                <a:tc>
                  <a:txBody>
                    <a:bodyPr/>
                    <a:lstStyle/>
                    <a:p>
                      <a:pPr algn="l"/>
                      <a:r>
                        <a:rPr lang="en-US" sz="2800" dirty="0">
                          <a:solidFill>
                            <a:schemeClr val="bg2"/>
                          </a:solidFill>
                        </a:rPr>
                        <a:t>HDInsight [Hadoop] or Azure Batch</a:t>
                      </a:r>
                    </a:p>
                  </a:txBody>
                  <a:tcPr marL="53641" marR="53641" marT="26822" marB="26822" anchor="ctr"/>
                </a:tc>
                <a:extLst>
                  <a:ext uri="{0D108BD9-81ED-4DB2-BD59-A6C34878D82A}">
                    <a16:rowId xmlns:a16="http://schemas.microsoft.com/office/drawing/2014/main" val="3107751975"/>
                  </a:ext>
                </a:extLst>
              </a:tr>
            </a:tbl>
          </a:graphicData>
        </a:graphic>
      </p:graphicFrame>
    </p:spTree>
    <p:extLst>
      <p:ext uri="{BB962C8B-B14F-4D97-AF65-F5344CB8AC3E}">
        <p14:creationId xmlns:p14="http://schemas.microsoft.com/office/powerpoint/2010/main" val="127969162"/>
      </p:ext>
    </p:extLst>
  </p:cSld>
  <p:clrMapOvr>
    <a:masterClrMapping/>
  </p:clrMapOvr>
  <p:transition spd="slow">
    <p:wipe/>
  </p:transition>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382947" y="1093328"/>
            <a:ext cx="7411159" cy="4837434"/>
          </a:xfrm>
          <a:prstGeom prst="rect">
            <a:avLst/>
          </a:prstGeom>
        </p:spPr>
      </p:pic>
      <p:sp>
        <p:nvSpPr>
          <p:cNvPr id="4" name="Title 1"/>
          <p:cNvSpPr txBox="1">
            <a:spLocks/>
          </p:cNvSpPr>
          <p:nvPr/>
        </p:nvSpPr>
        <p:spPr>
          <a:xfrm>
            <a:off x="199795" y="82542"/>
            <a:ext cx="11884506" cy="762581"/>
          </a:xfrm>
          <a:prstGeom prst="rect">
            <a:avLst/>
          </a:prstGeom>
        </p:spPr>
        <p:txBody>
          <a:bodyPr vert="horz" lIns="186521" tIns="46630" rIns="186521" bIns="46630" rtlCol="0" anchor="t">
            <a:noAutofit/>
          </a:bodyPr>
          <a:lstStyle>
            <a:defPPr>
              <a:defRPr lang="en-US"/>
            </a:defPPr>
            <a:lvl1pPr defTabSz="896157">
              <a:spcBef>
                <a:spcPct val="0"/>
              </a:spcBef>
              <a:buNone/>
              <a:defRPr sz="4705">
                <a:solidFill>
                  <a:srgbClr val="00B0F0"/>
                </a:solidFill>
                <a:latin typeface="+mj-lt"/>
                <a:ea typeface="+mj-ea"/>
                <a:cs typeface="+mj-cs"/>
              </a:defRPr>
            </a:lvl1pPr>
          </a:lstStyle>
          <a:p>
            <a:pPr defTabSz="913991">
              <a:defRPr/>
            </a:pPr>
            <a:r>
              <a:rPr lang="en-US" sz="4799" kern="0" dirty="0">
                <a:solidFill>
                  <a:schemeClr val="bg1"/>
                </a:solidFill>
                <a:latin typeface="Segoe UI Light"/>
              </a:rPr>
              <a:t>Gateway for On-Prem</a:t>
            </a:r>
          </a:p>
        </p:txBody>
      </p:sp>
    </p:spTree>
    <p:extLst>
      <p:ext uri="{BB962C8B-B14F-4D97-AF65-F5344CB8AC3E}">
        <p14:creationId xmlns:p14="http://schemas.microsoft.com/office/powerpoint/2010/main" val="2064186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lvl="0" defTabSz="932293" fontAlgn="base">
              <a:lnSpc>
                <a:spcPct val="90000"/>
              </a:lnSpc>
              <a:spcBef>
                <a:spcPct val="0"/>
              </a:spcBef>
              <a:spcAft>
                <a:spcPct val="0"/>
              </a:spcAft>
            </a:pPr>
            <a:r>
              <a:rPr lang="en-US" sz="3200" kern="0" dirty="0">
                <a:solidFill>
                  <a:srgbClr val="FFFF00"/>
                </a:solidFill>
                <a:ea typeface="Segoe UI" pitchFamily="34" charset="0"/>
                <a:cs typeface="Segoe UI" pitchFamily="34" charset="0"/>
              </a:rPr>
              <a:t>Create the Linked Services</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3017125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44463"/>
            <a:ext cx="7472363" cy="919162"/>
          </a:xfrm>
        </p:spPr>
        <p:txBody>
          <a:bodyPr vert="horz" lIns="186521" tIns="46630" rIns="186521" bIns="46630" rtlCol="0" anchor="t">
            <a:noAutofit/>
          </a:bodyPr>
          <a:lstStyle/>
          <a:p>
            <a:r>
              <a:rPr lang="en-US" dirty="0">
                <a:solidFill>
                  <a:schemeClr val="bg1"/>
                </a:solidFill>
              </a:rPr>
              <a:t>4: Create Datasets</a:t>
            </a:r>
          </a:p>
        </p:txBody>
      </p:sp>
      <p:sp>
        <p:nvSpPr>
          <p:cNvPr id="3" name="Rectangle 2"/>
          <p:cNvSpPr/>
          <p:nvPr/>
        </p:nvSpPr>
        <p:spPr>
          <a:xfrm>
            <a:off x="2675229" y="2328490"/>
            <a:ext cx="6704649" cy="2240437"/>
          </a:xfrm>
          <a:prstGeom prst="rect">
            <a:avLst/>
          </a:prstGeom>
        </p:spPr>
        <p:txBody>
          <a:bodyPr/>
          <a:lstStyle/>
          <a:p>
            <a:pPr defTabSz="914224">
              <a:lnSpc>
                <a:spcPct val="90000"/>
              </a:lnSpc>
              <a:spcBef>
                <a:spcPct val="0"/>
              </a:spcBef>
            </a:pPr>
            <a:r>
              <a:rPr lang="en-US" sz="7198" kern="0" spc="-102" dirty="0">
                <a:ln w="3175">
                  <a:noFill/>
                </a:ln>
                <a:solidFill>
                  <a:schemeClr val="bg1"/>
                </a:solidFill>
                <a:latin typeface="+mj-lt"/>
                <a:cs typeface="Segoe UI" pitchFamily="34" charset="0"/>
              </a:rPr>
              <a:t>Named reference </a:t>
            </a:r>
            <a:r>
              <a:rPr lang="en-US" sz="7198" i="1" kern="0" spc="-102" dirty="0">
                <a:ln w="3175">
                  <a:noFill/>
                </a:ln>
                <a:solidFill>
                  <a:schemeClr val="bg1"/>
                </a:solidFill>
                <a:latin typeface="+mj-lt"/>
                <a:cs typeface="Segoe UI" pitchFamily="34" charset="0"/>
              </a:rPr>
              <a:t>or </a:t>
            </a:r>
            <a:r>
              <a:rPr lang="en-US" sz="7198" kern="0" spc="-102" dirty="0">
                <a:ln w="3175">
                  <a:noFill/>
                </a:ln>
                <a:solidFill>
                  <a:schemeClr val="bg1"/>
                </a:solidFill>
                <a:latin typeface="+mj-lt"/>
                <a:cs typeface="Segoe UI" pitchFamily="34" charset="0"/>
              </a:rPr>
              <a:t>pointer </a:t>
            </a:r>
            <a:r>
              <a:rPr lang="en-US" sz="7198" i="1" kern="0" spc="-102" dirty="0">
                <a:ln w="3175">
                  <a:noFill/>
                </a:ln>
                <a:solidFill>
                  <a:schemeClr val="bg1"/>
                </a:solidFill>
                <a:latin typeface="+mj-lt"/>
                <a:cs typeface="Segoe UI" pitchFamily="34" charset="0"/>
              </a:rPr>
              <a:t>to </a:t>
            </a:r>
            <a:r>
              <a:rPr lang="en-US" sz="7198" kern="0" spc="-102" dirty="0">
                <a:ln w="3175">
                  <a:noFill/>
                </a:ln>
                <a:solidFill>
                  <a:schemeClr val="bg1"/>
                </a:solidFill>
                <a:latin typeface="+mj-lt"/>
                <a:cs typeface="Segoe UI" pitchFamily="34" charset="0"/>
              </a:rPr>
              <a:t>data</a:t>
            </a:r>
          </a:p>
        </p:txBody>
      </p:sp>
    </p:spTree>
    <p:extLst>
      <p:ext uri="{BB962C8B-B14F-4D97-AF65-F5344CB8AC3E}">
        <p14:creationId xmlns:p14="http://schemas.microsoft.com/office/powerpoint/2010/main" val="2983881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99795" y="82543"/>
            <a:ext cx="11884506" cy="976665"/>
          </a:xfrm>
          <a:prstGeom prst="rect">
            <a:avLst/>
          </a:prstGeom>
        </p:spPr>
        <p:txBody>
          <a:bodyPr vert="horz" lIns="186521" tIns="46630" rIns="186521" bIns="46630" rtlCol="0" anchor="t">
            <a:noAutofit/>
          </a:bodyPr>
          <a:lstStyle>
            <a:defPPr>
              <a:defRPr lang="en-US"/>
            </a:defPPr>
            <a:lvl1pPr defTabSz="896157">
              <a:spcBef>
                <a:spcPct val="0"/>
              </a:spcBef>
              <a:buNone/>
              <a:defRPr sz="4705">
                <a:solidFill>
                  <a:srgbClr val="00B0F0"/>
                </a:solidFill>
                <a:latin typeface="+mj-lt"/>
                <a:ea typeface="+mj-ea"/>
                <a:cs typeface="+mj-cs"/>
              </a:defRPr>
            </a:lvl1pPr>
          </a:lstStyle>
          <a:p>
            <a:pPr defTabSz="913991"/>
            <a:r>
              <a:rPr lang="en-US" sz="4799" kern="0" dirty="0"/>
              <a:t>Dataset Concepts</a:t>
            </a:r>
          </a:p>
        </p:txBody>
      </p:sp>
      <p:sp>
        <p:nvSpPr>
          <p:cNvPr id="3" name="Rectangle 2"/>
          <p:cNvSpPr/>
          <p:nvPr/>
        </p:nvSpPr>
        <p:spPr>
          <a:xfrm>
            <a:off x="275480" y="853749"/>
            <a:ext cx="11470984" cy="6058340"/>
          </a:xfrm>
          <a:prstGeom prst="rect">
            <a:avLst/>
          </a:prstGeom>
        </p:spPr>
        <p:txBody>
          <a:bodyPr wrap="square">
            <a:spAutoFit/>
          </a:bodyPr>
          <a:lstStyle/>
          <a:p>
            <a:pPr defTabSz="914224">
              <a:defRPr/>
            </a:pPr>
            <a:r>
              <a:rPr lang="en-US" sz="2000" kern="0" dirty="0">
                <a:solidFill>
                  <a:srgbClr val="C00000"/>
                </a:solidFill>
                <a:latin typeface="Segoe UI Light"/>
              </a:rPr>
              <a:t>{</a:t>
            </a:r>
          </a:p>
          <a:p>
            <a:pPr defTabSz="914224">
              <a:defRPr/>
            </a:pPr>
            <a:r>
              <a:rPr lang="en-US" sz="2000" kern="0" dirty="0">
                <a:solidFill>
                  <a:srgbClr val="C00000"/>
                </a:solidFill>
                <a:latin typeface="Segoe UI Light"/>
              </a:rPr>
              <a:t>    "name": "&lt;name of dataset&gt;",</a:t>
            </a:r>
          </a:p>
          <a:p>
            <a:pPr defTabSz="914224">
              <a:defRPr/>
            </a:pPr>
            <a:r>
              <a:rPr lang="en-US" sz="2000" kern="0" dirty="0">
                <a:solidFill>
                  <a:srgbClr val="C00000"/>
                </a:solidFill>
                <a:latin typeface="Segoe UI Light"/>
              </a:rPr>
              <a:t>    "properties":</a:t>
            </a:r>
          </a:p>
          <a:p>
            <a:pPr defTabSz="914224">
              <a:defRPr/>
            </a:pPr>
            <a:r>
              <a:rPr lang="en-US" sz="2000" kern="0" dirty="0">
                <a:solidFill>
                  <a:srgbClr val="C00000"/>
                </a:solidFill>
                <a:latin typeface="Segoe UI Light"/>
              </a:rPr>
              <a:t>    {</a:t>
            </a:r>
          </a:p>
          <a:p>
            <a:pPr defTabSz="914224">
              <a:defRPr/>
            </a:pPr>
            <a:r>
              <a:rPr lang="en-US" sz="2000" kern="0" dirty="0">
                <a:solidFill>
                  <a:srgbClr val="C00000"/>
                </a:solidFill>
                <a:latin typeface="Segoe UI Light"/>
              </a:rPr>
              <a:t>       "structure": [ ],</a:t>
            </a:r>
          </a:p>
          <a:p>
            <a:pPr defTabSz="914224">
              <a:defRPr/>
            </a:pPr>
            <a:r>
              <a:rPr lang="en-US" sz="2000" kern="0" dirty="0">
                <a:solidFill>
                  <a:srgbClr val="C00000"/>
                </a:solidFill>
                <a:latin typeface="Segoe UI Light"/>
              </a:rPr>
              <a:t>       "type": "&lt;type of dataset&gt;",</a:t>
            </a:r>
          </a:p>
          <a:p>
            <a:pPr defTabSz="914224">
              <a:defRPr/>
            </a:pPr>
            <a:r>
              <a:rPr lang="en-US" sz="2000" kern="0" dirty="0">
                <a:solidFill>
                  <a:srgbClr val="C00000"/>
                </a:solidFill>
                <a:latin typeface="Segoe UI Light"/>
              </a:rPr>
              <a:t>        "external": &lt;</a:t>
            </a:r>
            <a:r>
              <a:rPr lang="en-US" sz="2000" kern="0" dirty="0" err="1">
                <a:solidFill>
                  <a:srgbClr val="C00000"/>
                </a:solidFill>
                <a:latin typeface="Segoe UI Light"/>
              </a:rPr>
              <a:t>boolean</a:t>
            </a:r>
            <a:r>
              <a:rPr lang="en-US" sz="2000" kern="0" dirty="0">
                <a:solidFill>
                  <a:srgbClr val="C00000"/>
                </a:solidFill>
                <a:latin typeface="Segoe UI Light"/>
              </a:rPr>
              <a:t> flag to indicate external data&gt;,</a:t>
            </a:r>
          </a:p>
          <a:p>
            <a:pPr defTabSz="914224">
              <a:defRPr/>
            </a:pPr>
            <a:r>
              <a:rPr lang="en-US" sz="2000" kern="0" dirty="0">
                <a:solidFill>
                  <a:srgbClr val="C00000"/>
                </a:solidFill>
                <a:latin typeface="Segoe UI Light"/>
              </a:rPr>
              <a:t>        "</a:t>
            </a:r>
            <a:r>
              <a:rPr lang="en-US" sz="2000" kern="0" dirty="0" err="1">
                <a:solidFill>
                  <a:srgbClr val="C00000"/>
                </a:solidFill>
                <a:latin typeface="Segoe UI Light"/>
              </a:rPr>
              <a:t>typeProperties</a:t>
            </a:r>
            <a:r>
              <a:rPr lang="en-US" sz="2000" kern="0" dirty="0">
                <a:solidFill>
                  <a:srgbClr val="C00000"/>
                </a:solidFill>
                <a:latin typeface="Segoe UI Light"/>
              </a:rPr>
              <a:t>":</a:t>
            </a:r>
          </a:p>
          <a:p>
            <a:pPr defTabSz="914224">
              <a:defRPr/>
            </a:pPr>
            <a:r>
              <a:rPr lang="en-US" sz="2000" kern="0" dirty="0">
                <a:solidFill>
                  <a:srgbClr val="C00000"/>
                </a:solidFill>
                <a:latin typeface="Segoe UI Light"/>
              </a:rPr>
              <a:t>        {</a:t>
            </a:r>
          </a:p>
          <a:p>
            <a:pPr defTabSz="914224">
              <a:defRPr/>
            </a:pPr>
            <a:r>
              <a:rPr lang="en-US" sz="2000" kern="0" dirty="0">
                <a:solidFill>
                  <a:srgbClr val="C00000"/>
                </a:solidFill>
                <a:latin typeface="Segoe UI Light"/>
              </a:rPr>
              <a:t>        },</a:t>
            </a:r>
          </a:p>
          <a:p>
            <a:pPr defTabSz="914224">
              <a:defRPr/>
            </a:pPr>
            <a:r>
              <a:rPr lang="en-US" sz="2000" kern="0" dirty="0">
                <a:solidFill>
                  <a:srgbClr val="C00000"/>
                </a:solidFill>
                <a:latin typeface="Segoe UI Light"/>
              </a:rPr>
              <a:t>        "availability":</a:t>
            </a:r>
          </a:p>
          <a:p>
            <a:pPr defTabSz="914224">
              <a:defRPr/>
            </a:pPr>
            <a:r>
              <a:rPr lang="en-US" sz="2000" kern="0" dirty="0">
                <a:solidFill>
                  <a:srgbClr val="C00000"/>
                </a:solidFill>
                <a:latin typeface="Segoe UI Light"/>
              </a:rPr>
              <a:t>        {</a:t>
            </a:r>
          </a:p>
          <a:p>
            <a:pPr defTabSz="914224">
              <a:defRPr/>
            </a:pPr>
            <a:endParaRPr lang="en-US" sz="2000" kern="0" dirty="0">
              <a:solidFill>
                <a:srgbClr val="C00000"/>
              </a:solidFill>
              <a:latin typeface="Segoe UI Light"/>
            </a:endParaRPr>
          </a:p>
          <a:p>
            <a:pPr defTabSz="914224">
              <a:defRPr/>
            </a:pPr>
            <a:r>
              <a:rPr lang="en-US" sz="2000" kern="0" dirty="0">
                <a:solidFill>
                  <a:srgbClr val="C00000"/>
                </a:solidFill>
                <a:latin typeface="Segoe UI Light"/>
              </a:rPr>
              <a:t>        },</a:t>
            </a:r>
          </a:p>
          <a:p>
            <a:pPr defTabSz="914224">
              <a:defRPr/>
            </a:pPr>
            <a:r>
              <a:rPr lang="en-US" sz="2000" kern="0" dirty="0">
                <a:solidFill>
                  <a:srgbClr val="C00000"/>
                </a:solidFill>
                <a:latin typeface="Segoe UI Light"/>
              </a:rPr>
              <a:t>       "policy": </a:t>
            </a:r>
          </a:p>
          <a:p>
            <a:pPr defTabSz="914224">
              <a:defRPr/>
            </a:pPr>
            <a:r>
              <a:rPr lang="en-US" sz="2000" kern="0" dirty="0">
                <a:solidFill>
                  <a:srgbClr val="C00000"/>
                </a:solidFill>
                <a:latin typeface="Segoe UI Light"/>
              </a:rPr>
              <a:t>        {      </a:t>
            </a:r>
          </a:p>
          <a:p>
            <a:pPr defTabSz="914224">
              <a:defRPr/>
            </a:pPr>
            <a:endParaRPr lang="en-US" sz="2000" kern="0" dirty="0">
              <a:solidFill>
                <a:srgbClr val="C00000"/>
              </a:solidFill>
              <a:latin typeface="Segoe UI Light"/>
            </a:endParaRPr>
          </a:p>
          <a:p>
            <a:pPr defTabSz="914224">
              <a:defRPr/>
            </a:pPr>
            <a:r>
              <a:rPr lang="en-US" sz="2000" kern="0" dirty="0">
                <a:solidFill>
                  <a:srgbClr val="C00000"/>
                </a:solidFill>
                <a:latin typeface="Segoe UI Light"/>
              </a:rPr>
              <a:t>        }</a:t>
            </a:r>
          </a:p>
          <a:p>
            <a:pPr defTabSz="914224">
              <a:defRPr/>
            </a:pPr>
            <a:r>
              <a:rPr lang="en-US" sz="2000" kern="0" dirty="0">
                <a:solidFill>
                  <a:srgbClr val="C00000"/>
                </a:solidFill>
                <a:latin typeface="Segoe UI Light"/>
              </a:rPr>
              <a:t>    }</a:t>
            </a:r>
            <a:r>
              <a:rPr lang="en-US" sz="2000" kern="0" dirty="0">
                <a:solidFill>
                  <a:sysClr val="windowText" lastClr="000000"/>
                </a:solidFill>
                <a:latin typeface="Segoe UI Light"/>
              </a:rPr>
              <a:t>.</a:t>
            </a:r>
          </a:p>
        </p:txBody>
      </p:sp>
    </p:spTree>
    <p:extLst>
      <p:ext uri="{BB962C8B-B14F-4D97-AF65-F5344CB8AC3E}">
        <p14:creationId xmlns:p14="http://schemas.microsoft.com/office/powerpoint/2010/main" val="3438639301"/>
      </p:ext>
    </p:extLst>
  </p:cSld>
  <p:clrMapOvr>
    <a:masterClrMapping/>
  </p:clrMapOvr>
  <p:transition spd="slow">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1" y="101465"/>
            <a:ext cx="3533963" cy="2068135"/>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latin typeface="+mj-lt"/>
              </a:rPr>
              <a:t>The Team Data Science </a:t>
            </a:r>
            <a:r>
              <a:rPr lang="en-US" sz="4399" dirty="0">
                <a:solidFill>
                  <a:srgbClr val="00B050"/>
                </a:solidFill>
                <a:latin typeface="+mj-lt"/>
              </a:rPr>
              <a:t>Process</a:t>
            </a:r>
            <a:r>
              <a:rPr lang="en-US" sz="4399" dirty="0">
                <a:solidFill>
                  <a:schemeClr val="tx1">
                    <a:lumMod val="75000"/>
                  </a:schemeClr>
                </a:solidFill>
                <a:latin typeface="+mj-lt"/>
              </a:rPr>
              <a:t> </a:t>
            </a:r>
          </a:p>
        </p:txBody>
      </p:sp>
      <p:graphicFrame>
        <p:nvGraphicFramePr>
          <p:cNvPr id="3" name="Diagram 2"/>
          <p:cNvGraphicFramePr/>
          <p:nvPr>
            <p:extLst/>
          </p:nvPr>
        </p:nvGraphicFramePr>
        <p:xfrm>
          <a:off x="3900860" y="218011"/>
          <a:ext cx="8029573" cy="65403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508880131"/>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lvl="0" defTabSz="932293" fontAlgn="base">
              <a:lnSpc>
                <a:spcPct val="90000"/>
              </a:lnSpc>
              <a:spcBef>
                <a:spcPct val="0"/>
              </a:spcBef>
              <a:spcAft>
                <a:spcPct val="0"/>
              </a:spcAft>
            </a:pPr>
            <a:r>
              <a:rPr lang="en-US" sz="3200" kern="0" dirty="0">
                <a:solidFill>
                  <a:srgbClr val="FFFF00"/>
                </a:solidFill>
                <a:ea typeface="Segoe UI" pitchFamily="34" charset="0"/>
                <a:cs typeface="Segoe UI" pitchFamily="34" charset="0"/>
              </a:rPr>
              <a:t>Create Datasets</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857565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55575"/>
            <a:ext cx="7493000" cy="1008063"/>
          </a:xfrm>
        </p:spPr>
        <p:txBody>
          <a:bodyPr vert="horz" lIns="186521" tIns="46630" rIns="186521" bIns="46630" rtlCol="0" anchor="t">
            <a:noAutofit/>
          </a:bodyPr>
          <a:lstStyle/>
          <a:p>
            <a:r>
              <a:rPr lang="en-US" dirty="0">
                <a:solidFill>
                  <a:schemeClr val="bg1"/>
                </a:solidFill>
              </a:rPr>
              <a:t>5. Create Pipelines</a:t>
            </a:r>
          </a:p>
        </p:txBody>
      </p:sp>
      <p:sp>
        <p:nvSpPr>
          <p:cNvPr id="3" name="Title 1"/>
          <p:cNvSpPr txBox="1">
            <a:spLocks/>
          </p:cNvSpPr>
          <p:nvPr/>
        </p:nvSpPr>
        <p:spPr>
          <a:xfrm>
            <a:off x="2520529" y="2581660"/>
            <a:ext cx="7067970" cy="2285676"/>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6599" i="1" dirty="0">
                <a:solidFill>
                  <a:schemeClr val="bg1"/>
                </a:solidFill>
              </a:rPr>
              <a:t>Logical</a:t>
            </a:r>
            <a:r>
              <a:rPr lang="en-US" sz="6599" dirty="0">
                <a:solidFill>
                  <a:schemeClr val="bg1"/>
                </a:solidFill>
              </a:rPr>
              <a:t> </a:t>
            </a:r>
            <a:r>
              <a:rPr lang="en-US" sz="6599" i="1" dirty="0">
                <a:solidFill>
                  <a:schemeClr val="bg1"/>
                </a:solidFill>
              </a:rPr>
              <a:t>Grouping </a:t>
            </a:r>
            <a:r>
              <a:rPr lang="en-US" sz="6599" dirty="0">
                <a:solidFill>
                  <a:schemeClr val="bg1"/>
                </a:solidFill>
              </a:rPr>
              <a:t>of Activities</a:t>
            </a:r>
          </a:p>
        </p:txBody>
      </p:sp>
    </p:spTree>
    <p:extLst>
      <p:ext uri="{BB962C8B-B14F-4D97-AF65-F5344CB8AC3E}">
        <p14:creationId xmlns:p14="http://schemas.microsoft.com/office/powerpoint/2010/main" val="1619514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99795" y="82542"/>
            <a:ext cx="11884506" cy="762581"/>
          </a:xfrm>
          <a:prstGeom prst="rect">
            <a:avLst/>
          </a:prstGeom>
        </p:spPr>
        <p:txBody>
          <a:bodyPr vert="horz" lIns="186521" tIns="46630" rIns="186521" bIns="46630" rtlCol="0" anchor="t">
            <a:noAutofit/>
          </a:bodyPr>
          <a:lstStyle>
            <a:defPPr>
              <a:defRPr lang="en-US"/>
            </a:defPPr>
            <a:lvl1pPr defTabSz="896157">
              <a:spcBef>
                <a:spcPct val="0"/>
              </a:spcBef>
              <a:buNone/>
              <a:defRPr sz="4705">
                <a:solidFill>
                  <a:srgbClr val="00B0F0"/>
                </a:solidFill>
                <a:latin typeface="+mj-lt"/>
                <a:ea typeface="+mj-ea"/>
                <a:cs typeface="+mj-cs"/>
              </a:defRPr>
            </a:lvl1pPr>
          </a:lstStyle>
          <a:p>
            <a:pPr defTabSz="913991"/>
            <a:r>
              <a:rPr lang="en-US" sz="4799" kern="0" dirty="0"/>
              <a:t>Pipeline Concepts</a:t>
            </a:r>
          </a:p>
        </p:txBody>
      </p:sp>
      <p:sp>
        <p:nvSpPr>
          <p:cNvPr id="3" name="Rectangle 2"/>
          <p:cNvSpPr/>
          <p:nvPr/>
        </p:nvSpPr>
        <p:spPr>
          <a:xfrm>
            <a:off x="1570697" y="1059208"/>
            <a:ext cx="8228432" cy="5807216"/>
          </a:xfrm>
          <a:prstGeom prst="rect">
            <a:avLst/>
          </a:prstGeom>
        </p:spPr>
        <p:txBody>
          <a:bodyPr wrap="square">
            <a:spAutoFit/>
          </a:bodyPr>
          <a:lstStyle/>
          <a:p>
            <a:pPr defTabSz="914224"/>
            <a:r>
              <a:rPr lang="en-US" sz="2800" kern="0" dirty="0">
                <a:solidFill>
                  <a:srgbClr val="FF0000"/>
                </a:solidFill>
              </a:rPr>
              <a:t>{</a:t>
            </a:r>
          </a:p>
          <a:p>
            <a:pPr defTabSz="914224"/>
            <a:r>
              <a:rPr lang="en-US" sz="2800" kern="0" dirty="0">
                <a:solidFill>
                  <a:srgbClr val="FF0000"/>
                </a:solidFill>
              </a:rPr>
              <a:t>    "name": "</a:t>
            </a:r>
            <a:r>
              <a:rPr lang="en-US" sz="2800" kern="0" dirty="0" err="1">
                <a:solidFill>
                  <a:srgbClr val="FF0000"/>
                </a:solidFill>
              </a:rPr>
              <a:t>PipelineName</a:t>
            </a:r>
            <a:r>
              <a:rPr lang="en-US" sz="2800" kern="0" dirty="0">
                <a:solidFill>
                  <a:srgbClr val="FF0000"/>
                </a:solidFill>
              </a:rPr>
              <a:t>",</a:t>
            </a:r>
          </a:p>
          <a:p>
            <a:pPr defTabSz="914224"/>
            <a:r>
              <a:rPr lang="en-US" sz="2800" kern="0" dirty="0">
                <a:solidFill>
                  <a:srgbClr val="FF0000"/>
                </a:solidFill>
              </a:rPr>
              <a:t>    "properties": </a:t>
            </a:r>
          </a:p>
          <a:p>
            <a:pPr defTabSz="914224"/>
            <a:r>
              <a:rPr lang="en-US" sz="2800" kern="0" dirty="0">
                <a:solidFill>
                  <a:srgbClr val="FF0000"/>
                </a:solidFill>
              </a:rPr>
              <a:t>    {</a:t>
            </a:r>
          </a:p>
          <a:p>
            <a:pPr defTabSz="914224"/>
            <a:r>
              <a:rPr lang="en-US" sz="2800" kern="0" dirty="0">
                <a:solidFill>
                  <a:srgbClr val="FF0000"/>
                </a:solidFill>
              </a:rPr>
              <a:t>        "description" : "pipeline description",</a:t>
            </a:r>
          </a:p>
          <a:p>
            <a:pPr defTabSz="914224"/>
            <a:r>
              <a:rPr lang="en-US" sz="2800" kern="0" dirty="0">
                <a:solidFill>
                  <a:srgbClr val="FF0000"/>
                </a:solidFill>
              </a:rPr>
              <a:t>        "activities":</a:t>
            </a:r>
          </a:p>
          <a:p>
            <a:pPr defTabSz="914224"/>
            <a:r>
              <a:rPr lang="en-US" sz="2800" kern="0" dirty="0">
                <a:solidFill>
                  <a:srgbClr val="FF0000"/>
                </a:solidFill>
              </a:rPr>
              <a:t>        [</a:t>
            </a:r>
          </a:p>
          <a:p>
            <a:pPr defTabSz="914224"/>
            <a:endParaRPr lang="en-US" sz="2800" kern="0" dirty="0">
              <a:solidFill>
                <a:srgbClr val="FF0000"/>
              </a:solidFill>
            </a:endParaRPr>
          </a:p>
          <a:p>
            <a:pPr defTabSz="914224"/>
            <a:r>
              <a:rPr lang="en-US" sz="2800" kern="0" dirty="0">
                <a:solidFill>
                  <a:srgbClr val="FF0000"/>
                </a:solidFill>
              </a:rPr>
              <a:t>        ],</a:t>
            </a:r>
          </a:p>
          <a:p>
            <a:pPr defTabSz="914224"/>
            <a:r>
              <a:rPr lang="en-US" sz="2800" kern="0" dirty="0">
                <a:solidFill>
                  <a:srgbClr val="FF0000"/>
                </a:solidFill>
              </a:rPr>
              <a:t>        "start": "&lt;start date-time&gt;",</a:t>
            </a:r>
          </a:p>
          <a:p>
            <a:pPr defTabSz="914224"/>
            <a:r>
              <a:rPr lang="en-US" sz="2800" kern="0" dirty="0">
                <a:solidFill>
                  <a:srgbClr val="FF0000"/>
                </a:solidFill>
              </a:rPr>
              <a:t>        "end": "&lt;end date-time&gt;"</a:t>
            </a:r>
          </a:p>
          <a:p>
            <a:pPr defTabSz="914224"/>
            <a:r>
              <a:rPr lang="en-US" sz="2800" kern="0" dirty="0">
                <a:solidFill>
                  <a:srgbClr val="FF0000"/>
                </a:solidFill>
              </a:rPr>
              <a:t>    }</a:t>
            </a:r>
          </a:p>
          <a:p>
            <a:pPr defTabSz="914224"/>
            <a:r>
              <a:rPr lang="en-US" sz="2800" kern="0" dirty="0">
                <a:solidFill>
                  <a:srgbClr val="FF0000"/>
                </a:solidFill>
              </a:rPr>
              <a:t>}</a:t>
            </a:r>
          </a:p>
        </p:txBody>
      </p:sp>
    </p:spTree>
    <p:extLst>
      <p:ext uri="{BB962C8B-B14F-4D97-AF65-F5344CB8AC3E}">
        <p14:creationId xmlns:p14="http://schemas.microsoft.com/office/powerpoint/2010/main" val="1594721699"/>
      </p:ext>
    </p:extLst>
  </p:cSld>
  <p:clrMapOvr>
    <a:masterClrMapping/>
  </p:clrMapOvr>
  <p:transition spd="slow">
    <p:wip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lvl="0" defTabSz="932293" fontAlgn="base">
              <a:lnSpc>
                <a:spcPct val="90000"/>
              </a:lnSpc>
              <a:spcBef>
                <a:spcPct val="0"/>
              </a:spcBef>
              <a:spcAft>
                <a:spcPct val="0"/>
              </a:spcAft>
            </a:pPr>
            <a:r>
              <a:rPr lang="en-US" sz="3200" kern="0" dirty="0">
                <a:solidFill>
                  <a:srgbClr val="FFFF00"/>
                </a:solidFill>
                <a:ea typeface="Segoe UI" pitchFamily="34" charset="0"/>
                <a:cs typeface="Segoe UI" pitchFamily="34" charset="0"/>
              </a:rPr>
              <a:t>Create Pipeline(s)</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1782130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07963"/>
            <a:ext cx="7232650" cy="917575"/>
          </a:xfrm>
        </p:spPr>
        <p:txBody>
          <a:bodyPr/>
          <a:lstStyle/>
          <a:p>
            <a:r>
              <a:rPr lang="en-US" dirty="0">
                <a:solidFill>
                  <a:schemeClr val="bg1"/>
                </a:solidFill>
              </a:rPr>
              <a:t>6. Manage and Monitor</a:t>
            </a:r>
          </a:p>
        </p:txBody>
      </p:sp>
      <p:sp>
        <p:nvSpPr>
          <p:cNvPr id="3" name="Title 1"/>
          <p:cNvSpPr txBox="1">
            <a:spLocks/>
          </p:cNvSpPr>
          <p:nvPr/>
        </p:nvSpPr>
        <p:spPr>
          <a:xfrm>
            <a:off x="3441760" y="2947577"/>
            <a:ext cx="6247513" cy="1859836"/>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4799" b="1" dirty="0">
                <a:solidFill>
                  <a:schemeClr val="bg1"/>
                </a:solidFill>
              </a:rPr>
              <a:t>Scheduling, Monitoring, Disposition</a:t>
            </a:r>
          </a:p>
        </p:txBody>
      </p:sp>
    </p:spTree>
    <p:extLst>
      <p:ext uri="{BB962C8B-B14F-4D97-AF65-F5344CB8AC3E}">
        <p14:creationId xmlns:p14="http://schemas.microsoft.com/office/powerpoint/2010/main" val="2871944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99795" y="82543"/>
            <a:ext cx="11884506" cy="976665"/>
          </a:xfrm>
          <a:prstGeom prst="rect">
            <a:avLst/>
          </a:prstGeom>
        </p:spPr>
        <p:txBody>
          <a:bodyPr vert="horz" lIns="186521" tIns="46630" rIns="186521" bIns="46630" rtlCol="0" anchor="t">
            <a:noAutofit/>
          </a:bodyPr>
          <a:lstStyle>
            <a:defPPr>
              <a:defRPr lang="en-US"/>
            </a:defPPr>
            <a:lvl1pPr defTabSz="896157">
              <a:spcBef>
                <a:spcPct val="0"/>
              </a:spcBef>
              <a:buNone/>
              <a:defRPr sz="4705">
                <a:solidFill>
                  <a:srgbClr val="00B0F0"/>
                </a:solidFill>
                <a:latin typeface="+mj-lt"/>
                <a:ea typeface="+mj-ea"/>
                <a:cs typeface="+mj-cs"/>
              </a:defRPr>
            </a:lvl1pPr>
          </a:lstStyle>
          <a:p>
            <a:pPr defTabSz="913991"/>
            <a:r>
              <a:rPr lang="en-US" sz="4799" kern="0" dirty="0"/>
              <a:t>Locating Failures within a Pipeline</a:t>
            </a:r>
          </a:p>
        </p:txBody>
      </p:sp>
      <p:pic>
        <p:nvPicPr>
          <p:cNvPr id="3" name="Picture 2"/>
          <p:cNvPicPr>
            <a:picLocks noChangeAspect="1"/>
          </p:cNvPicPr>
          <p:nvPr/>
        </p:nvPicPr>
        <p:blipFill>
          <a:blip r:embed="rId3"/>
          <a:stretch>
            <a:fillRect/>
          </a:stretch>
        </p:blipFill>
        <p:spPr>
          <a:xfrm>
            <a:off x="4618264" y="1287775"/>
            <a:ext cx="6857027" cy="5207870"/>
          </a:xfrm>
          <a:prstGeom prst="rect">
            <a:avLst/>
          </a:prstGeom>
        </p:spPr>
      </p:pic>
    </p:spTree>
    <p:extLst>
      <p:ext uri="{BB962C8B-B14F-4D97-AF65-F5344CB8AC3E}">
        <p14:creationId xmlns:p14="http://schemas.microsoft.com/office/powerpoint/2010/main" val="2045761207"/>
      </p:ext>
    </p:extLst>
  </p:cSld>
  <p:clrMapOvr>
    <a:masterClrMapping/>
  </p:clrMapOvr>
  <p:transition spd="slow">
    <p:wipe/>
  </p:transition>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883" y="1708"/>
            <a:ext cx="12434711" cy="6991111"/>
          </a:xfrm>
          <a:prstGeom prst="rect">
            <a:avLst/>
          </a:prstGeom>
        </p:spPr>
      </p:pic>
    </p:spTree>
    <p:extLst>
      <p:ext uri="{BB962C8B-B14F-4D97-AF65-F5344CB8AC3E}">
        <p14:creationId xmlns:p14="http://schemas.microsoft.com/office/powerpoint/2010/main" val="4059144969"/>
      </p:ext>
    </p:extLst>
  </p:cSld>
  <p:clrMapOvr>
    <a:masterClrMapping/>
  </p:clrMapOvr>
  <p:transition spd="slow">
    <p:wip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lvl="0" defTabSz="932293" fontAlgn="base">
              <a:lnSpc>
                <a:spcPct val="90000"/>
              </a:lnSpc>
              <a:spcBef>
                <a:spcPct val="0"/>
              </a:spcBef>
              <a:spcAft>
                <a:spcPct val="0"/>
              </a:spcAft>
            </a:pPr>
            <a:r>
              <a:rPr lang="en-US" sz="3200" kern="0" dirty="0">
                <a:solidFill>
                  <a:srgbClr val="FFFF00"/>
                </a:solidFill>
                <a:ea typeface="Segoe UI" pitchFamily="34" charset="0"/>
                <a:cs typeface="Segoe UI" pitchFamily="34" charset="0"/>
              </a:rPr>
              <a:t>Monitor Pipeline(s)</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1041105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3" name="Text Placeholder 2"/>
          <p:cNvSpPr txBox="1">
            <a:spLocks/>
          </p:cNvSpPr>
          <p:nvPr/>
        </p:nvSpPr>
        <p:spPr>
          <a:xfrm>
            <a:off x="4369885" y="1825535"/>
            <a:ext cx="7514284" cy="4016484"/>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Understand ADF and its constructs</a:t>
            </a:r>
          </a:p>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Implement an ADF Pipeline referencing Data Sources and with various Activities</a:t>
            </a:r>
          </a:p>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Understand how HDInsight can be used to process data</a:t>
            </a:r>
          </a:p>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Understand the HIVE language and how it is used</a:t>
            </a:r>
          </a:p>
        </p:txBody>
      </p:sp>
    </p:spTree>
    <p:extLst>
      <p:ext uri="{BB962C8B-B14F-4D97-AF65-F5344CB8AC3E}">
        <p14:creationId xmlns:p14="http://schemas.microsoft.com/office/powerpoint/2010/main" val="555247025"/>
      </p:ext>
    </p:extLst>
  </p:cSld>
  <p:clrMapOvr>
    <a:masterClrMapping/>
  </p:clrMapOvr>
  <p:transition spd="slow">
    <p:wip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3" y="30223"/>
            <a:ext cx="4289544" cy="2510690"/>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rPr>
              <a:t>The Cortana Intelligence </a:t>
            </a:r>
            <a:r>
              <a:rPr lang="en-US" sz="4399" dirty="0">
                <a:solidFill>
                  <a:srgbClr val="00B050"/>
                </a:solidFill>
              </a:rPr>
              <a:t>Platform</a:t>
            </a:r>
          </a:p>
        </p:txBody>
      </p:sp>
      <p:graphicFrame>
        <p:nvGraphicFramePr>
          <p:cNvPr id="36" name="Diagram 35"/>
          <p:cNvGraphicFramePr/>
          <p:nvPr>
            <p:extLst/>
          </p:nvPr>
        </p:nvGraphicFramePr>
        <p:xfrm>
          <a:off x="3866311" y="121118"/>
          <a:ext cx="8100961" cy="66977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2836840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wipe(down)">
                                      <p:cBhvr>
                                        <p:cTn id="7" dur="10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6" grpId="0">
        <p:bldAsOne/>
      </p:bldGraphic>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dirty="0"/>
              <a:t>Module 1: </a:t>
            </a:r>
            <a:br>
              <a:rPr lang="en-US" dirty="0"/>
            </a:br>
            <a:r>
              <a:rPr lang="en-US" sz="4400" dirty="0"/>
              <a:t>Data Selection, Processing and Transformation</a:t>
            </a:r>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114672356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3"/>
          <a:stretch>
            <a:fillRect/>
          </a:stretch>
        </p:blipFill>
        <p:spPr>
          <a:xfrm>
            <a:off x="9234969" y="5555654"/>
            <a:ext cx="1223041" cy="1438871"/>
          </a:xfrm>
          <a:prstGeom prst="rect">
            <a:avLst/>
          </a:prstGeom>
        </p:spPr>
      </p:pic>
      <p:sp>
        <p:nvSpPr>
          <p:cNvPr id="6" name="Text Placeholder 2"/>
          <p:cNvSpPr txBox="1">
            <a:spLocks/>
          </p:cNvSpPr>
          <p:nvPr/>
        </p:nvSpPr>
        <p:spPr>
          <a:xfrm>
            <a:off x="0" y="408790"/>
            <a:ext cx="11887200" cy="6345327"/>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endParaRPr kumimoji="0" lang="en-US" sz="1800" b="0" i="0" u="none" strike="noStrike" kern="1200" cap="none" spc="0" normalizeH="0" baseline="0" noProof="0" dirty="0">
              <a:ln>
                <a:noFill/>
              </a:ln>
              <a:solidFill>
                <a:srgbClr val="00B050"/>
              </a:solidFill>
              <a:effectLst/>
              <a:uLnTx/>
              <a:uFillTx/>
              <a:latin typeface="Segoe UI Light"/>
              <a:ea typeface="+mn-ea"/>
              <a:cs typeface="+mn-cs"/>
            </a:endParaRP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uLnTx/>
                <a:uFillTx/>
                <a:latin typeface="Segoe UI Light"/>
                <a:ea typeface="+mn-ea"/>
                <a:cs typeface="+mn-cs"/>
              </a:rPr>
              <a:t>AdventureWorks is a company that makes and sells bicycles. The sales are conducted around the world. We also support our products. But as we’ve made more sales in the last 10 years, we’ve farmed out the support function to various companies that take in maintenance and support issues in call centers around the world.</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uLnTx/>
                <a:uFillTx/>
                <a:latin typeface="Segoe UI Light"/>
                <a:ea typeface="+mn-ea"/>
                <a:cs typeface="+mn-cs"/>
              </a:rPr>
              <a:t>We’re growing. And now we want to take our bicycles to several large retailers, but a few of them want to know a lot about our churn rate. </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uLnTx/>
                <a:uFillTx/>
                <a:latin typeface="Segoe UI Light"/>
                <a:ea typeface="+mn-ea"/>
                <a:cs typeface="+mn-cs"/>
              </a:rPr>
              <a:t>For over 10 years, we’ve collected a lot of information about our customers and of course we know a lot about our products. But since we’ve outsourced our call centers, we don’t own the databases that hold their data – they will give us an export, though. (They support multiple customers)</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uLnTx/>
                <a:uFillTx/>
                <a:latin typeface="Segoe UI Light"/>
                <a:ea typeface="+mn-ea"/>
                <a:cs typeface="+mn-cs"/>
              </a:rPr>
              <a:t>We’re not sure about our churn rate – we have the data of who has and has not bought again, and we think we can get the data from the call centers for the complaints and repairs, but we need a way to analyze a lot of data that has different formats to find a prediction of who will churn and who will not.</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uLnTx/>
                <a:uFillTx/>
                <a:latin typeface="Segoe UI Light"/>
                <a:ea typeface="+mn-ea"/>
                <a:cs typeface="+mn-cs"/>
              </a:rPr>
              <a:t>Ideally we want a list of customers we think will churn, in a structured database we could share out to our potential resellers sales staff, so they know how to target at-risk and new clients. </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endParaRPr kumimoji="0" lang="en-US" sz="1800" b="0" i="0" u="none" strike="noStrike" kern="1200" cap="none" spc="0" normalizeH="0" baseline="0" noProof="0" dirty="0">
              <a:ln>
                <a:noFill/>
              </a:ln>
              <a:solidFill>
                <a:srgbClr val="00B050"/>
              </a:solidFill>
              <a:effectLst/>
              <a:uLnTx/>
              <a:uFillTx/>
              <a:latin typeface="Segoe UI Light"/>
              <a:ea typeface="+mn-ea"/>
              <a:cs typeface="+mn-cs"/>
            </a:endParaRP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1600" b="0" i="0" u="none" strike="noStrike" kern="1200" cap="none" spc="0" normalizeH="0" baseline="0" noProof="0" dirty="0">
                <a:ln>
                  <a:noFill/>
                </a:ln>
                <a:solidFill>
                  <a:srgbClr val="00B050"/>
                </a:solidFill>
                <a:effectLst/>
                <a:uLnTx/>
                <a:uFillTx/>
                <a:latin typeface="Segoe UI Light"/>
                <a:ea typeface="+mn-ea"/>
                <a:cs typeface="+mn-cs"/>
              </a:rPr>
              <a:t>More on our in-house data: https://technet.microsoft.com/en-us/library/ms124501%28v=sql.100%29.aspx</a:t>
            </a:r>
          </a:p>
        </p:txBody>
      </p:sp>
      <p:sp>
        <p:nvSpPr>
          <p:cNvPr id="7" name="Title 1"/>
          <p:cNvSpPr txBox="1">
            <a:spLocks/>
          </p:cNvSpPr>
          <p:nvPr/>
        </p:nvSpPr>
        <p:spPr>
          <a:xfrm>
            <a:off x="0" y="0"/>
            <a:ext cx="7787812" cy="817581"/>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2" normalizeH="0" baseline="0" noProof="0" dirty="0">
                <a:ln w="3175">
                  <a:noFill/>
                </a:ln>
                <a:solidFill>
                  <a:srgbClr val="005AA1"/>
                </a:solidFill>
                <a:effectLst/>
                <a:uLnTx/>
                <a:uFillTx/>
                <a:latin typeface="+mj-lt"/>
                <a:ea typeface="+mn-ea"/>
                <a:cs typeface="Segoe UI" pitchFamily="34" charset="0"/>
              </a:rPr>
              <a:t>Business Case</a:t>
            </a:r>
            <a:endParaRPr kumimoji="0" lang="en-US" sz="4800" b="0" i="0" u="none" strike="noStrike" kern="1200" cap="none" spc="-102" normalizeH="0" baseline="0" noProof="0" dirty="0">
              <a:ln w="3175">
                <a:noFill/>
              </a:ln>
              <a:solidFill>
                <a:srgbClr val="005AA1"/>
              </a:solidFill>
              <a:effectLst/>
              <a:uLnTx/>
              <a:uFillTx/>
              <a:latin typeface="+mj-lt"/>
              <a:ea typeface="+mn-ea"/>
              <a:cs typeface="Segoe UI" pitchFamily="34" charset="0"/>
            </a:endParaRPr>
          </a:p>
        </p:txBody>
      </p:sp>
    </p:spTree>
    <p:extLst>
      <p:ext uri="{BB962C8B-B14F-4D97-AF65-F5344CB8AC3E}">
        <p14:creationId xmlns:p14="http://schemas.microsoft.com/office/powerpoint/2010/main" val="24628142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3"/>
          <a:stretch>
            <a:fillRect/>
          </a:stretch>
        </p:blipFill>
        <p:spPr>
          <a:xfrm>
            <a:off x="9234969" y="5555654"/>
            <a:ext cx="1223041" cy="1438871"/>
          </a:xfrm>
          <a:prstGeom prst="rect">
            <a:avLst/>
          </a:prstGeom>
        </p:spPr>
      </p:pic>
      <p:sp>
        <p:nvSpPr>
          <p:cNvPr id="6" name="Text Placeholder 2"/>
          <p:cNvSpPr txBox="1">
            <a:spLocks/>
          </p:cNvSpPr>
          <p:nvPr/>
        </p:nvSpPr>
        <p:spPr>
          <a:xfrm>
            <a:off x="0" y="408790"/>
            <a:ext cx="11887200" cy="6345327"/>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endParaRPr kumimoji="0" lang="en-US" sz="1800" b="0" i="0" u="none" strike="noStrike" kern="1200" cap="none" spc="0" normalizeH="0" baseline="0" noProof="0" dirty="0">
              <a:ln>
                <a:noFill/>
              </a:ln>
              <a:solidFill>
                <a:srgbClr val="00B050"/>
              </a:solidFill>
              <a:effectLst/>
              <a:uLnTx/>
              <a:uFillTx/>
              <a:latin typeface="Segoe UI Light"/>
              <a:ea typeface="+mn-ea"/>
              <a:cs typeface="+mn-cs"/>
            </a:endParaRP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uLnTx/>
                <a:uFillTx/>
                <a:latin typeface="Segoe UI Light"/>
                <a:ea typeface="+mn-ea"/>
                <a:cs typeface="+mn-cs"/>
              </a:rPr>
              <a:t>AdventureWorks is a company that makes and sells bicycles. The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sales are conducted around the world</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We also support our products. But as we’ve made more sales in the last 10 years, we’ve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farmed out the support function</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to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various companies </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that take in maintenance and support issues in call centers around the world.</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We’re growing</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And now we want to take our bicycles to several large retailers, but a few of them want to know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a lot about our churn rate</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uLnTx/>
                <a:uFillTx/>
                <a:latin typeface="Segoe UI Light"/>
                <a:ea typeface="+mn-ea"/>
                <a:cs typeface="+mn-cs"/>
              </a:rPr>
              <a:t>For over 10 years, we’ve collected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a lot of information </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about our customers and of course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we know a lot about our products</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But since we’ve outsourced our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call centers, we don’t own the databases </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that hold their data – they will give us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an export</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though. (They support multiple customers)</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uLnTx/>
                <a:uFillTx/>
                <a:latin typeface="Segoe UI Light"/>
                <a:ea typeface="+mn-ea"/>
                <a:cs typeface="+mn-cs"/>
              </a:rPr>
              <a:t>We’re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not sure </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about our churn rate – we have the data of who has and has not bought again, and we think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we can get the data from the call centers for the complaints and repairs</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but we need a way to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analyze a lot of data </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that has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different formats </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to find a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prediction</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of who will churn and who will not.</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Ideally</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we want a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list of customers </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we think will churn, in a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structured database </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we could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share out </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to our potential resellers sales staff, so they know how to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target at-risk and new clients</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endParaRPr kumimoji="0" lang="en-US" sz="1800" b="0" i="0" u="none" strike="noStrike" kern="1200" cap="none" spc="0" normalizeH="0" baseline="0" noProof="0" dirty="0">
              <a:ln>
                <a:noFill/>
              </a:ln>
              <a:solidFill>
                <a:srgbClr val="00B050"/>
              </a:solidFill>
              <a:effectLst/>
              <a:uLnTx/>
              <a:uFillTx/>
              <a:latin typeface="Segoe UI Light"/>
              <a:ea typeface="+mn-ea"/>
              <a:cs typeface="+mn-cs"/>
            </a:endParaRP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1600" b="0" i="0" u="none" strike="noStrike" kern="1200" cap="none" spc="0" normalizeH="0" baseline="0" noProof="0" dirty="0">
                <a:ln>
                  <a:noFill/>
                </a:ln>
                <a:solidFill>
                  <a:srgbClr val="00B050"/>
                </a:solidFill>
                <a:effectLst/>
                <a:uLnTx/>
                <a:uFillTx/>
                <a:latin typeface="Segoe UI Light"/>
                <a:ea typeface="+mn-ea"/>
                <a:cs typeface="+mn-cs"/>
              </a:rPr>
              <a:t>More on our in-house data: https://technet.microsoft.com/en-us/library/ms124501%28v=sql.100%29.aspx</a:t>
            </a:r>
          </a:p>
        </p:txBody>
      </p:sp>
      <p:sp>
        <p:nvSpPr>
          <p:cNvPr id="7" name="Title 1"/>
          <p:cNvSpPr txBox="1">
            <a:spLocks/>
          </p:cNvSpPr>
          <p:nvPr/>
        </p:nvSpPr>
        <p:spPr>
          <a:xfrm>
            <a:off x="0" y="0"/>
            <a:ext cx="7787812" cy="817581"/>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2" normalizeH="0" baseline="0" noProof="0" dirty="0">
                <a:ln w="3175">
                  <a:noFill/>
                </a:ln>
                <a:solidFill>
                  <a:srgbClr val="005AA1"/>
                </a:solidFill>
                <a:effectLst/>
                <a:uLnTx/>
                <a:uFillTx/>
                <a:latin typeface="+mj-lt"/>
                <a:ea typeface="+mn-ea"/>
                <a:cs typeface="Segoe UI" pitchFamily="34" charset="0"/>
              </a:rPr>
              <a:t>Business Case</a:t>
            </a:r>
            <a:endParaRPr kumimoji="0" lang="en-US" sz="4800" b="0" i="0" u="none" strike="noStrike" kern="1200" cap="none" spc="-102" normalizeH="0" baseline="0" noProof="0" dirty="0">
              <a:ln w="3175">
                <a:noFill/>
              </a:ln>
              <a:solidFill>
                <a:srgbClr val="005AA1"/>
              </a:solidFill>
              <a:effectLst/>
              <a:uLnTx/>
              <a:uFillTx/>
              <a:latin typeface="+mj-lt"/>
              <a:ea typeface="+mn-ea"/>
              <a:cs typeface="Segoe UI" pitchFamily="34" charset="0"/>
            </a:endParaRPr>
          </a:p>
        </p:txBody>
      </p:sp>
    </p:spTree>
    <p:extLst>
      <p:ext uri="{BB962C8B-B14F-4D97-AF65-F5344CB8AC3E}">
        <p14:creationId xmlns:p14="http://schemas.microsoft.com/office/powerpoint/2010/main" val="304512171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dirty="0"/>
              <a:t>Module 2: </a:t>
            </a:r>
            <a:br>
              <a:rPr lang="en-US" dirty="0"/>
            </a:br>
            <a:r>
              <a:rPr lang="en-US" sz="4400" dirty="0"/>
              <a:t>HDInsight for Data Manipulation and Processing</a:t>
            </a:r>
            <a:endParaRPr lang="en-US" dirty="0"/>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56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2.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3.xml><?xml version="1.0" encoding="utf-8"?>
<a:theme xmlns:a="http://schemas.openxmlformats.org/drawingml/2006/main" name="2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4.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SQLintersect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
      <a:majorFont>
        <a:latin typeface="Calibri"/>
        <a:ea typeface=""/>
        <a:cs typeface=""/>
        <a:font script="Jpan" typeface="HGｺﾞｼｯｸM"/>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mbria"/>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spDef>
      <a:spPr bwMode="auto">
        <a:gradFill rotWithShape="1">
          <a:gsLst>
            <a:gs pos="0">
              <a:srgbClr val="A4D289"/>
            </a:gs>
            <a:gs pos="100000">
              <a:schemeClr val="bg1"/>
            </a:gs>
          </a:gsLst>
          <a:lin ang="5400000" scaled="1"/>
        </a:gradFill>
        <a:ln w="9525" algn="ctr">
          <a:solidFill>
            <a:schemeClr val="tx1"/>
          </a:solidFill>
          <a:miter lim="800000"/>
          <a:headEnd/>
          <a:tailEnd/>
        </a:ln>
        <a:effectLst>
          <a:outerShdw blurRad="50800" dist="38100" dir="2700000" algn="tl" rotWithShape="0">
            <a:prstClr val="black">
              <a:alpha val="40000"/>
            </a:prstClr>
          </a:outerShdw>
        </a:effectLst>
      </a:spPr>
      <a:bodyPr wrap="none" anchor="ctr"/>
      <a:lstStyle>
        <a:defPPr>
          <a:defRPr sz="2000" dirty="0">
            <a:latin typeface="Tekton Pro" pitchFamily="34" charset="0"/>
          </a:defRPr>
        </a:defPPr>
      </a:lstStyle>
    </a:spDef>
    <a:lnDef>
      <a:spPr bwMode="auto">
        <a:xfrm>
          <a:off x="0" y="0"/>
          <a:ext cx="1" cy="1"/>
        </a:xfrm>
        <a:custGeom>
          <a:avLst/>
          <a:gdLst/>
          <a:ahLst/>
          <a:cxnLst/>
          <a:rect l="0" t="0" r="0" b="0"/>
          <a:pathLst/>
        </a:cu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a:spPr>
      <a:bodyPr vert="horz" wrap="none" lIns="91440" tIns="45720" rIns="91440" bIns="45720" anchor="ctr" compatLnSpc="1"/>
      <a:lstStyle>
        <a:defPPr marL="0" marR="0" indent="0" algn="ctr" defTabSz="914400" rtl="0" eaLnBrk="0" fontAlgn="base" latinLnBrk="0" hangingPunct="0">
          <a:lnSpc>
            <a:spcPct val="100000"/>
          </a:lnSpc>
          <a:spcBef>
            <a:spcPct val="0"/>
          </a:spcBef>
          <a:spcAft>
            <a:spcPct val="0"/>
          </a:spcAft>
          <a:buNone/>
          <a:tabLst/>
          <a:defRPr kumimoji="0" lang="en-US" sz="1600" b="1" i="0" u="none" strike="noStrike" baseline="0">
            <a:solidFill>
              <a:schemeClr val="tx1">
                <a:alpha val="100000"/>
              </a:schemeClr>
            </a:solidFill>
            <a:effectLst/>
            <a:latin typeface="Arial"/>
          </a:defRPr>
        </a:defPPr>
      </a:lstStyle>
    </a:lnDef>
    <a:txDef>
      <a:spPr bwMode="auto">
        <a:noFill/>
        <a:ln w="9525">
          <a:noFill/>
          <a:miter lim="800000"/>
          <a:headEnd/>
          <a:tailEnd/>
        </a:ln>
      </a:spPr>
      <a:bodyPr wrap="none">
        <a:spAutoFit/>
      </a:bodyPr>
      <a:lstStyle>
        <a:defPPr>
          <a:defRPr sz="1800" dirty="0">
            <a:solidFill>
              <a:srgbClr val="002060"/>
            </a:solidFill>
            <a:latin typeface="Tekton Pro" pitchFamily="34" charset="0"/>
          </a:defRPr>
        </a:defPPr>
      </a:lstStyle>
    </a:txDef>
  </a:objectDefaults>
  <a:extraClrSchemeLst>
    <a:extraClrScheme>
      <a:clrScheme name="Watermark 1">
        <a:dk1>
          <a:srgbClr val="000000"/>
        </a:dk1>
        <a:lt1>
          <a:srgbClr val="FFFFFF"/>
        </a:lt1>
        <a:dk2>
          <a:srgbClr val="000000"/>
        </a:dk2>
        <a:lt2>
          <a:srgbClr val="808080"/>
        </a:lt2>
        <a:accent1>
          <a:srgbClr val="CCCCFF"/>
        </a:accent1>
        <a:accent2>
          <a:srgbClr val="D9D8EC"/>
        </a:accent2>
        <a:accent3>
          <a:srgbClr val="FFFFFF"/>
        </a:accent3>
        <a:accent4>
          <a:srgbClr val="000000"/>
        </a:accent4>
        <a:accent5>
          <a:srgbClr val="E2E2FF"/>
        </a:accent5>
        <a:accent6>
          <a:srgbClr val="C4C4D6"/>
        </a:accent6>
        <a:hlink>
          <a:srgbClr val="6767FF"/>
        </a:hlink>
        <a:folHlink>
          <a:srgbClr val="9933FF"/>
        </a:folHlink>
      </a:clrScheme>
      <a:clrMap bg1="lt1" tx1="dk1" bg2="lt2" tx2="dk2" accent1="accent1" accent2="accent2" accent3="accent3" accent4="accent4" accent5="accent5" accent6="accent6" hlink="hlink" folHlink="folHlink"/>
    </a:extraClrScheme>
    <a:extraClrScheme>
      <a:clrScheme name="Watermark 2">
        <a:dk1>
          <a:srgbClr val="000000"/>
        </a:dk1>
        <a:lt1>
          <a:srgbClr val="FFFFFF"/>
        </a:lt1>
        <a:dk2>
          <a:srgbClr val="666633"/>
        </a:dk2>
        <a:lt2>
          <a:srgbClr val="5F5F5F"/>
        </a:lt2>
        <a:accent1>
          <a:srgbClr val="FFCC00"/>
        </a:accent1>
        <a:accent2>
          <a:srgbClr val="EFF0B2"/>
        </a:accent2>
        <a:accent3>
          <a:srgbClr val="FFFFFF"/>
        </a:accent3>
        <a:accent4>
          <a:srgbClr val="000000"/>
        </a:accent4>
        <a:accent5>
          <a:srgbClr val="FFE2AA"/>
        </a:accent5>
        <a:accent6>
          <a:srgbClr val="D9D9A1"/>
        </a:accent6>
        <a:hlink>
          <a:srgbClr val="808000"/>
        </a:hlink>
        <a:folHlink>
          <a:srgbClr val="CCCC00"/>
        </a:folHlink>
      </a:clrScheme>
      <a:clrMap bg1="lt1" tx1="dk1" bg2="lt2" tx2="dk2" accent1="accent1" accent2="accent2" accent3="accent3" accent4="accent4" accent5="accent5" accent6="accent6" hlink="hlink" folHlink="folHlink"/>
    </a:extraClrScheme>
    <a:extraClrScheme>
      <a:clrScheme name="Watermark 3">
        <a:dk1>
          <a:srgbClr val="000000"/>
        </a:dk1>
        <a:lt1>
          <a:srgbClr val="FFFFFF"/>
        </a:lt1>
        <a:dk2>
          <a:srgbClr val="000000"/>
        </a:dk2>
        <a:lt2>
          <a:srgbClr val="666699"/>
        </a:lt2>
        <a:accent1>
          <a:srgbClr val="9BB0CB"/>
        </a:accent1>
        <a:accent2>
          <a:srgbClr val="D1E0CE"/>
        </a:accent2>
        <a:accent3>
          <a:srgbClr val="FFFFFF"/>
        </a:accent3>
        <a:accent4>
          <a:srgbClr val="000000"/>
        </a:accent4>
        <a:accent5>
          <a:srgbClr val="CBD4E2"/>
        </a:accent5>
        <a:accent6>
          <a:srgbClr val="BDCBBA"/>
        </a:accent6>
        <a:hlink>
          <a:srgbClr val="8EA642"/>
        </a:hlink>
        <a:folHlink>
          <a:srgbClr val="CCCC00"/>
        </a:folHlink>
      </a:clrScheme>
      <a:clrMap bg1="lt1" tx1="dk1" bg2="lt2" tx2="dk2" accent1="accent1" accent2="accent2" accent3="accent3" accent4="accent4" accent5="accent5" accent6="accent6" hlink="hlink" folHlink="folHlink"/>
    </a:extraClrScheme>
    <a:extraClrScheme>
      <a:clrScheme name="Watermark 4">
        <a:dk1>
          <a:srgbClr val="333300"/>
        </a:dk1>
        <a:lt1>
          <a:srgbClr val="FFFFCC"/>
        </a:lt1>
        <a:dk2>
          <a:srgbClr val="336600"/>
        </a:dk2>
        <a:lt2>
          <a:srgbClr val="FFFFCC"/>
        </a:lt2>
        <a:accent1>
          <a:srgbClr val="99CC00"/>
        </a:accent1>
        <a:accent2>
          <a:srgbClr val="669900"/>
        </a:accent2>
        <a:accent3>
          <a:srgbClr val="ADB8AA"/>
        </a:accent3>
        <a:accent4>
          <a:srgbClr val="DADAAE"/>
        </a:accent4>
        <a:accent5>
          <a:srgbClr val="CAE2AA"/>
        </a:accent5>
        <a:accent6>
          <a:srgbClr val="5C8A00"/>
        </a:accent6>
        <a:hlink>
          <a:srgbClr val="CC9900"/>
        </a:hlink>
        <a:folHlink>
          <a:srgbClr val="FFCC00"/>
        </a:folHlink>
      </a:clrScheme>
      <a:clrMap bg1="dk2" tx1="lt1" bg2="dk1" tx2="lt2" accent1="accent1" accent2="accent2" accent3="accent3" accent4="accent4" accent5="accent5" accent6="accent6" hlink="hlink" folHlink="folHlink"/>
    </a:extraClrScheme>
    <a:extraClrScheme>
      <a:clrScheme name="Watermark 5">
        <a:dk1>
          <a:srgbClr val="424458"/>
        </a:dk1>
        <a:lt1>
          <a:srgbClr val="FFFFFF"/>
        </a:lt1>
        <a:dk2>
          <a:srgbClr val="004A48"/>
        </a:dk2>
        <a:lt2>
          <a:srgbClr val="FFFFFF"/>
        </a:lt2>
        <a:accent1>
          <a:srgbClr val="83B200"/>
        </a:accent1>
        <a:accent2>
          <a:srgbClr val="006260"/>
        </a:accent2>
        <a:accent3>
          <a:srgbClr val="AAB1B1"/>
        </a:accent3>
        <a:accent4>
          <a:srgbClr val="DADADA"/>
        </a:accent4>
        <a:accent5>
          <a:srgbClr val="C1D5AA"/>
        </a:accent5>
        <a:accent6>
          <a:srgbClr val="005856"/>
        </a:accent6>
        <a:hlink>
          <a:srgbClr val="6666FF"/>
        </a:hlink>
        <a:folHlink>
          <a:srgbClr val="B2B2B2"/>
        </a:folHlink>
      </a:clrScheme>
      <a:clrMap bg1="dk2" tx1="lt1" bg2="dk1" tx2="lt2" accent1="accent1" accent2="accent2" accent3="accent3" accent4="accent4" accent5="accent5" accent6="accent6" hlink="hlink" folHlink="folHlink"/>
    </a:extraClrScheme>
    <a:extraClrScheme>
      <a:clrScheme name="Watermark 6">
        <a:dk1>
          <a:srgbClr val="000000"/>
        </a:dk1>
        <a:lt1>
          <a:srgbClr val="FFFFFF"/>
        </a:lt1>
        <a:dk2>
          <a:srgbClr val="1C2046"/>
        </a:dk2>
        <a:lt2>
          <a:srgbClr val="FFFFFF"/>
        </a:lt2>
        <a:accent1>
          <a:srgbClr val="00CCFF"/>
        </a:accent1>
        <a:accent2>
          <a:srgbClr val="2D226E"/>
        </a:accent2>
        <a:accent3>
          <a:srgbClr val="ABABB0"/>
        </a:accent3>
        <a:accent4>
          <a:srgbClr val="DADADA"/>
        </a:accent4>
        <a:accent5>
          <a:srgbClr val="AAE2FF"/>
        </a:accent5>
        <a:accent6>
          <a:srgbClr val="281E63"/>
        </a:accent6>
        <a:hlink>
          <a:srgbClr val="666699"/>
        </a:hlink>
        <a:folHlink>
          <a:srgbClr val="9999FF"/>
        </a:folHlink>
      </a:clrScheme>
      <a:clrMap bg1="dk2" tx1="lt1" bg2="dk1" tx2="lt2" accent1="accent1" accent2="accent2" accent3="accent3" accent4="accent4" accent5="accent5" accent6="accent6" hlink="hlink" folHlink="folHlink"/>
    </a:extraClrScheme>
    <a:extraClrScheme>
      <a:clrScheme name="Watermark 7">
        <a:dk1>
          <a:srgbClr val="424458"/>
        </a:dk1>
        <a:lt1>
          <a:srgbClr val="FFFFFF"/>
        </a:lt1>
        <a:dk2>
          <a:srgbClr val="000066"/>
        </a:dk2>
        <a:lt2>
          <a:srgbClr val="FFFFFF"/>
        </a:lt2>
        <a:accent1>
          <a:srgbClr val="6666FF"/>
        </a:accent1>
        <a:accent2>
          <a:srgbClr val="333399"/>
        </a:accent2>
        <a:accent3>
          <a:srgbClr val="AAAAB8"/>
        </a:accent3>
        <a:accent4>
          <a:srgbClr val="DADADA"/>
        </a:accent4>
        <a:accent5>
          <a:srgbClr val="B8B8FF"/>
        </a:accent5>
        <a:accent6>
          <a:srgbClr val="2D2D8A"/>
        </a:accent6>
        <a:hlink>
          <a:srgbClr val="FF9900"/>
        </a:hlink>
        <a:folHlink>
          <a:srgbClr val="CCCC00"/>
        </a:folHlink>
      </a:clrScheme>
      <a:clrMap bg1="dk2" tx1="lt1" bg2="dk1" tx2="lt2" accent1="accent1" accent2="accent2" accent3="accent3" accent4="accent4" accent5="accent5" accent6="accent6" hlink="hlink" folHlink="folHlink"/>
    </a:extraClrScheme>
    <a:extraClrScheme>
      <a:clrScheme name="Watermark 8">
        <a:dk1>
          <a:srgbClr val="1C1C1C"/>
        </a:dk1>
        <a:lt1>
          <a:srgbClr val="FFFFCC"/>
        </a:lt1>
        <a:dk2>
          <a:srgbClr val="390B20"/>
        </a:dk2>
        <a:lt2>
          <a:srgbClr val="FFFFCC"/>
        </a:lt2>
        <a:accent1>
          <a:srgbClr val="FF916F"/>
        </a:accent1>
        <a:accent2>
          <a:srgbClr val="561450"/>
        </a:accent2>
        <a:accent3>
          <a:srgbClr val="AEAAAB"/>
        </a:accent3>
        <a:accent4>
          <a:srgbClr val="DADAAE"/>
        </a:accent4>
        <a:accent5>
          <a:srgbClr val="FFC7BB"/>
        </a:accent5>
        <a:accent6>
          <a:srgbClr val="4D1148"/>
        </a:accent6>
        <a:hlink>
          <a:srgbClr val="637D95"/>
        </a:hlink>
        <a:folHlink>
          <a:srgbClr val="FFCC00"/>
        </a:folHlink>
      </a:clrScheme>
      <a:clrMap bg1="dk2" tx1="lt1" bg2="dk1" tx2="lt2" accent1="accent1" accent2="accent2" accent3="accent3" accent4="accent4" accent5="accent5" accent6="accent6" hlink="hlink" folHlink="folHlink"/>
    </a:extraClrScheme>
    <a:extraClrScheme>
      <a:clrScheme name="Watermark 9">
        <a:dk1>
          <a:srgbClr val="4C0000"/>
        </a:dk1>
        <a:lt1>
          <a:srgbClr val="FFFFFF"/>
        </a:lt1>
        <a:dk2>
          <a:srgbClr val="722104"/>
        </a:dk2>
        <a:lt2>
          <a:srgbClr val="FFFFFF"/>
        </a:lt2>
        <a:accent1>
          <a:srgbClr val="CC6600"/>
        </a:accent1>
        <a:accent2>
          <a:srgbClr val="8A2E00"/>
        </a:accent2>
        <a:accent3>
          <a:srgbClr val="BCABAA"/>
        </a:accent3>
        <a:accent4>
          <a:srgbClr val="DADADA"/>
        </a:accent4>
        <a:accent5>
          <a:srgbClr val="E2B8AA"/>
        </a:accent5>
        <a:accent6>
          <a:srgbClr val="7D2900"/>
        </a:accent6>
        <a:hlink>
          <a:srgbClr val="FFCC00"/>
        </a:hlink>
        <a:folHlink>
          <a:srgbClr val="FF990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D79205F35F1AF40BCD07C4F58D4AC80" ma:contentTypeVersion="6" ma:contentTypeDescription="Create a new document." ma:contentTypeScope="" ma:versionID="928b465a6c3029e92fc4756b1ec87666">
  <xsd:schema xmlns:xsd="http://www.w3.org/2001/XMLSchema" xmlns:xs="http://www.w3.org/2001/XMLSchema" xmlns:p="http://schemas.microsoft.com/office/2006/metadata/properties" xmlns:ns1="http://schemas.microsoft.com/sharepoint/v3" xmlns:ns2="9bc6b55d-a734-43bd-8eab-fb065c703cf5" targetNamespace="http://schemas.microsoft.com/office/2006/metadata/properties" ma:root="true" ma:fieldsID="0d30a3c16de9f4b741f5fd3773089e2c" ns1:_="" ns2:_="">
    <xsd:import namespace="http://schemas.microsoft.com/sharepoint/v3"/>
    <xsd:import namespace="9bc6b55d-a734-43bd-8eab-fb065c703cf5"/>
    <xsd:element name="properties">
      <xsd:complexType>
        <xsd:sequence>
          <xsd:element name="documentManagement">
            <xsd:complexType>
              <xsd:all>
                <xsd:element ref="ns2:SharedWithUsers" minOccurs="0"/>
                <xsd:element ref="ns2:SharedWithDetails" minOccurs="0"/>
                <xsd:element ref="ns1:_ip_UnifiedCompliancePolicyProperties" minOccurs="0"/>
                <xsd:element ref="ns1:_ip_UnifiedCompliancePolicyUIAction" minOccurs="0"/>
                <xsd:element ref="ns2: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hidden="true" ma:internalName="_ip_UnifiedCompliancePolicyProperties">
      <xsd:simpleType>
        <xsd:restriction base="dms:Note"/>
      </xsd:simpleType>
    </xsd:element>
    <xsd:element name="_ip_UnifiedCompliancePolicyUIAction" ma:index="1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bc6b55d-a734-43bd-8eab-fb065c703cf5"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2" nillable="true" ma:displayName="Last Shared By User" ma:description="" ma:internalName="LastSharedByUser" ma:readOnly="true">
      <xsd:simpleType>
        <xsd:restriction base="dms:Note">
          <xsd:maxLength value="255"/>
        </xsd:restriction>
      </xsd:simpleType>
    </xsd:element>
    <xsd:element name="LastSharedByTime" ma:index="13"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FDA0CA33-A79C-42CC-B711-4E457C61B82C}">
  <ds:schemaRefs>
    <ds:schemaRef ds:uri="http://schemas.microsoft.com/sharepoint/v3/contenttype/forms"/>
  </ds:schemaRefs>
</ds:datastoreItem>
</file>

<file path=customXml/itemProps2.xml><?xml version="1.0" encoding="utf-8"?>
<ds:datastoreItem xmlns:ds="http://schemas.openxmlformats.org/officeDocument/2006/customXml" ds:itemID="{13D70770-CB78-4D5D-941D-8EC9F283F1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bc6b55d-a734-43bd-8eab-fb065c703cf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321B954-9788-4EA1-AD2B-FCD55044DE3E}">
  <ds:schemaRefs>
    <ds:schemaRef ds:uri="http://schemas.microsoft.com/office/2006/metadata/properties"/>
    <ds:schemaRef ds:uri="http://purl.org/dc/terms/"/>
    <ds:schemaRef ds:uri="http://schemas.microsoft.com/office/2006/documentManagement/types"/>
    <ds:schemaRef ds:uri="9bc6b55d-a734-43bd-8eab-fb065c703cf5"/>
    <ds:schemaRef ds:uri="http://schemas.microsoft.com/office/infopath/2007/PartnerControls"/>
    <ds:schemaRef ds:uri="http://schemas.openxmlformats.org/package/2006/metadata/core-properties"/>
    <ds:schemaRef ds:uri="http://purl.org/dc/elements/1.1/"/>
    <ds:schemaRef ds:uri="http://schemas.microsoft.com/sharepoint/v3"/>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Cortana%20Analytics_v1</Template>
  <TotalTime>0</TotalTime>
  <Words>3533</Words>
  <Application>Microsoft Office PowerPoint</Application>
  <PresentationFormat>Custom</PresentationFormat>
  <Paragraphs>567</Paragraphs>
  <Slides>48</Slides>
  <Notes>48</Notes>
  <HiddenSlides>0</HiddenSlides>
  <MMClips>0</MMClips>
  <ScaleCrop>false</ScaleCrop>
  <HeadingPairs>
    <vt:vector size="8" baseType="variant">
      <vt:variant>
        <vt:lpstr>Fonts Used</vt:lpstr>
      </vt:variant>
      <vt:variant>
        <vt:i4>12</vt:i4>
      </vt:variant>
      <vt:variant>
        <vt:lpstr>Theme</vt:lpstr>
      </vt:variant>
      <vt:variant>
        <vt:i4>6</vt:i4>
      </vt:variant>
      <vt:variant>
        <vt:lpstr>Embedded OLE Servers</vt:lpstr>
      </vt:variant>
      <vt:variant>
        <vt:i4>1</vt:i4>
      </vt:variant>
      <vt:variant>
        <vt:lpstr>Slide Titles</vt:lpstr>
      </vt:variant>
      <vt:variant>
        <vt:i4>48</vt:i4>
      </vt:variant>
    </vt:vector>
  </HeadingPairs>
  <TitlesOfParts>
    <vt:vector size="67" baseType="lpstr">
      <vt:lpstr>SimSun</vt:lpstr>
      <vt:lpstr>Arial</vt:lpstr>
      <vt:lpstr>Calibri</vt:lpstr>
      <vt:lpstr>Calibri Light</vt:lpstr>
      <vt:lpstr>Cambria</vt:lpstr>
      <vt:lpstr>Courier New</vt:lpstr>
      <vt:lpstr>Myriad Pro</vt:lpstr>
      <vt:lpstr>Segoe UI</vt:lpstr>
      <vt:lpstr>Segoe UI Light</vt:lpstr>
      <vt:lpstr>Times New Roman</vt:lpstr>
      <vt:lpstr>Verdana</vt:lpstr>
      <vt:lpstr>Wingdings</vt:lpstr>
      <vt:lpstr>COLOR TEMPLATE</vt:lpstr>
      <vt:lpstr>1_WHITE TEMPLATE</vt:lpstr>
      <vt:lpstr>2_WHITE TEMPLATE</vt:lpstr>
      <vt:lpstr>FY15 Enterprise identity theme</vt:lpstr>
      <vt:lpstr>Office Theme</vt:lpstr>
      <vt:lpstr>1_SQLintersection</vt:lpstr>
      <vt:lpstr>think-cell Slide</vt:lpstr>
      <vt:lpstr>PowerPoint Presentation</vt:lpstr>
      <vt:lpstr>PowerPoint Presentation</vt:lpstr>
      <vt:lpstr>The Data Science Process and Platform</vt:lpstr>
      <vt:lpstr>The Team Data Science Process </vt:lpstr>
      <vt:lpstr>The Cortana Intelligence Platform</vt:lpstr>
      <vt:lpstr>Module 1:  Data Selection, Processing and Transformation</vt:lpstr>
      <vt:lpstr>PowerPoint Presentation</vt:lpstr>
      <vt:lpstr>PowerPoint Presentation</vt:lpstr>
      <vt:lpstr>Module 2:  HDInsight for Data Manipulation and Processing</vt:lpstr>
      <vt:lpstr>Hadoop and HDInsight</vt:lpstr>
      <vt:lpstr>Hadoop</vt:lpstr>
      <vt:lpstr>PowerPoint Presentation</vt:lpstr>
      <vt:lpstr>HDInsight</vt:lpstr>
      <vt:lpstr>Deploying HDInsight Clusters</vt:lpstr>
      <vt:lpstr>Using Hive to Query Data</vt:lpstr>
      <vt:lpstr>PowerPoint Presentation</vt:lpstr>
      <vt:lpstr>Hive Client Tools</vt:lpstr>
      <vt:lpstr>PowerPoint Presentation</vt:lpstr>
      <vt:lpstr>Module 3:  Azure Data Factory</vt:lpstr>
      <vt:lpstr>Azure Data Factory</vt:lpstr>
      <vt:lpstr>PowerPoint Presentation</vt:lpstr>
      <vt:lpstr>PowerPoint Presentation</vt:lpstr>
      <vt:lpstr>PowerPoint Presentation</vt:lpstr>
      <vt:lpstr>1. Design Process</vt:lpstr>
      <vt:lpstr>PowerPoint Presentation</vt:lpstr>
      <vt:lpstr>PowerPoint Presentation</vt:lpstr>
      <vt:lpstr>2. Create the Data Factory</vt:lpstr>
      <vt:lpstr>PowerPoint Presentation</vt:lpstr>
      <vt:lpstr>PowerPoint Presentation</vt:lpstr>
      <vt:lpstr>PowerPoint Presentation</vt:lpstr>
      <vt:lpstr>PowerPoint Presentation</vt:lpstr>
      <vt:lpstr>Lab:</vt:lpstr>
      <vt:lpstr>3. Create Linked Services</vt:lpstr>
      <vt:lpstr>PowerPoint Presentation</vt:lpstr>
      <vt:lpstr>PowerPoint Presentation</vt:lpstr>
      <vt:lpstr>PowerPoint Presentation</vt:lpstr>
      <vt:lpstr>Lab:</vt:lpstr>
      <vt:lpstr>4: Create Datasets</vt:lpstr>
      <vt:lpstr>PowerPoint Presentation</vt:lpstr>
      <vt:lpstr>Lab:</vt:lpstr>
      <vt:lpstr>5. Create Pipelines</vt:lpstr>
      <vt:lpstr>PowerPoint Presentation</vt:lpstr>
      <vt:lpstr>Lab:</vt:lpstr>
      <vt:lpstr>6. Manage and Monitor</vt:lpstr>
      <vt:lpstr>PowerPoint Presentation</vt:lpstr>
      <vt:lpstr>PowerPoint Presentation</vt:lpstr>
      <vt:lpstr>Lab:</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rtana Intelligence Suite  Foundations – Data Preparation</dc:title>
  <dc:subject/>
  <dc:creator/>
  <cp:keywords/>
  <dc:description/>
  <cp:lastModifiedBy/>
  <cp:revision>2</cp:revision>
  <dcterms:created xsi:type="dcterms:W3CDTF">2016-06-28T18:15:46Z</dcterms:created>
  <dcterms:modified xsi:type="dcterms:W3CDTF">2017-03-28T10:12: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D79205F35F1AF40BCD07C4F58D4AC80</vt:lpwstr>
  </property>
</Properties>
</file>